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3" r:id="rId4"/>
  </p:sldMasterIdLst>
  <p:notesMasterIdLst>
    <p:notesMasterId r:id="rId10"/>
  </p:notesMasterIdLst>
  <p:sldIdLst>
    <p:sldId id="4677" r:id="rId5"/>
    <p:sldId id="4671" r:id="rId6"/>
    <p:sldId id="12001" r:id="rId7"/>
    <p:sldId id="12002" r:id="rId8"/>
    <p:sldId id="12004" r:id="rId9"/>
  </p:sldIdLst>
  <p:sldSz cx="9144000" cy="5143500" type="screen16x9"/>
  <p:notesSz cx="5143500" cy="9144000"/>
  <p:defaultTextStyle>
    <a:defPPr>
      <a:defRPr lang="en-US"/>
    </a:defPPr>
    <a:lvl1pPr marL="0" algn="l" defTabSz="914400">
      <a:defRPr sz="18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8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8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8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8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8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8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8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8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3E549A60-B1A3-B523-E296-657EE536F9B6}" name="Gibson, Jenny" initials="GJ" userId="S::jenny.gibson@ise.fraunhofer.de::1e5f5407-9a1a-44b5-af2b-9e6708059651" providerId="AD"/>
  <p188:author id="{CAC55CBD-B569-5112-591D-12F8FCBB0A53}" name="Özdemir, Özal Emre" initials="ÖÖE" userId="S::oezal.emre.oezdemir@ise.fraunhofer.de::5c1c5fd9-ffb8-4305-bd08-5b993e5f6280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4821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34B9746C-85DC-710E-F270-FE995B5BBE47}">
  <a:tblStyle styleId="{34B9746C-85DC-710E-F270-FE995B5BBE47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>
              <a:solidFill>
                <a:schemeClr val="lt1"/>
              </a:solidFill>
            </a:ln>
          </a:left>
          <a:right>
            <a:ln w="12700">
              <a:solidFill>
                <a:schemeClr val="lt1"/>
              </a:solidFill>
            </a:ln>
          </a:right>
          <a:top>
            <a:ln w="12700">
              <a:solidFill>
                <a:schemeClr val="lt1"/>
              </a:solidFill>
            </a:ln>
          </a:top>
          <a:bottom>
            <a:ln w="12700">
              <a:solidFill>
                <a:schemeClr val="lt1"/>
              </a:solidFill>
            </a:ln>
          </a:bottom>
          <a:insideH>
            <a:ln w="12700">
              <a:solidFill>
                <a:schemeClr val="lt1"/>
              </a:solidFill>
            </a:ln>
          </a:insideH>
          <a:insideV>
            <a:ln w="12700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  <a:fill>
          <a:solidFill>
            <a:schemeClr val="accent1">
              <a:tint val="40000"/>
            </a:schemeClr>
          </a:solidFill>
        </a:fill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seCell>
      <a:tcStyle>
        <a:tcBdr/>
      </a:tcStyle>
    </a:seCell>
    <a:swCell>
      <a:tcStyle>
        <a:tcBdr/>
      </a:tcStyle>
    </a:swCell>
    <a:firstRow>
      <a:tcTxStyle b="on">
        <a:fontRef idx="minor">
          <a:prstClr val="black"/>
        </a:fontRef>
        <a:schemeClr val="lt1"/>
      </a:tcTxStyle>
      <a:tcStyle>
        <a:tcBdr>
          <a:bottom>
            <a:ln w="38100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  <a:neCell>
      <a:tcStyle>
        <a:tcBdr/>
      </a:tcStyle>
    </a:neCell>
    <a:nwCell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38" d="100"/>
          <a:sy n="138" d="100"/>
        </p:scale>
        <p:origin x="834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microsoft.com/office/2016/11/relationships/changesInfo" Target="changesInfos/changesInfo1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ahn, Ulrike" userId="e755dc28-2a91-4eab-bb26-e943cf0d1d94" providerId="ADAL" clId="{B088861B-BA8E-4E34-AB26-772D83A18EA5}"/>
    <pc:docChg chg="custSel modSld">
      <pc:chgData name="Jahn, Ulrike" userId="e755dc28-2a91-4eab-bb26-e943cf0d1d94" providerId="ADAL" clId="{B088861B-BA8E-4E34-AB26-772D83A18EA5}" dt="2026-02-06T17:56:07.863" v="67" actId="20577"/>
      <pc:docMkLst>
        <pc:docMk/>
      </pc:docMkLst>
      <pc:sldChg chg="addSp delSp modSp mod">
        <pc:chgData name="Jahn, Ulrike" userId="e755dc28-2a91-4eab-bb26-e943cf0d1d94" providerId="ADAL" clId="{B088861B-BA8E-4E34-AB26-772D83A18EA5}" dt="2026-02-06T17:35:55.255" v="66" actId="1036"/>
        <pc:sldMkLst>
          <pc:docMk/>
          <pc:sldMk cId="2513182152" sldId="4671"/>
        </pc:sldMkLst>
        <pc:spChg chg="mod">
          <ac:chgData name="Jahn, Ulrike" userId="e755dc28-2a91-4eab-bb26-e943cf0d1d94" providerId="ADAL" clId="{B088861B-BA8E-4E34-AB26-772D83A18EA5}" dt="2026-02-05T16:30:37.162" v="8" actId="14100"/>
          <ac:spMkLst>
            <pc:docMk/>
            <pc:sldMk cId="2513182152" sldId="4671"/>
            <ac:spMk id="2" creationId="{DD32B899-DB09-408E-96A9-DE801C5D91EE}"/>
          </ac:spMkLst>
        </pc:spChg>
        <pc:spChg chg="mod">
          <ac:chgData name="Jahn, Ulrike" userId="e755dc28-2a91-4eab-bb26-e943cf0d1d94" providerId="ADAL" clId="{B088861B-BA8E-4E34-AB26-772D83A18EA5}" dt="2026-02-06T17:35:44.941" v="60" actId="1036"/>
          <ac:spMkLst>
            <pc:docMk/>
            <pc:sldMk cId="2513182152" sldId="4671"/>
            <ac:spMk id="7" creationId="{7E8DAB85-7DE6-846F-9707-BD7EB91FCED9}"/>
          </ac:spMkLst>
        </pc:spChg>
        <pc:picChg chg="add mod">
          <ac:chgData name="Jahn, Ulrike" userId="e755dc28-2a91-4eab-bb26-e943cf0d1d94" providerId="ADAL" clId="{B088861B-BA8E-4E34-AB26-772D83A18EA5}" dt="2026-02-06T17:35:55.255" v="66" actId="1036"/>
          <ac:picMkLst>
            <pc:docMk/>
            <pc:sldMk cId="2513182152" sldId="4671"/>
            <ac:picMk id="5" creationId="{8700B771-B1F3-1189-E41C-1BD2A974B0E0}"/>
          </ac:picMkLst>
        </pc:picChg>
        <pc:picChg chg="del">
          <ac:chgData name="Jahn, Ulrike" userId="e755dc28-2a91-4eab-bb26-e943cf0d1d94" providerId="ADAL" clId="{B088861B-BA8E-4E34-AB26-772D83A18EA5}" dt="2026-02-06T17:35:15.645" v="44" actId="478"/>
          <ac:picMkLst>
            <pc:docMk/>
            <pc:sldMk cId="2513182152" sldId="4671"/>
            <ac:picMk id="6" creationId="{10AB98C8-B4EE-E8F1-1398-DF848FABA660}"/>
          </ac:picMkLst>
        </pc:picChg>
      </pc:sldChg>
      <pc:sldChg chg="modSp mod">
        <pc:chgData name="Jahn, Ulrike" userId="e755dc28-2a91-4eab-bb26-e943cf0d1d94" providerId="ADAL" clId="{B088861B-BA8E-4E34-AB26-772D83A18EA5}" dt="2026-02-05T16:32:02.140" v="43" actId="20577"/>
        <pc:sldMkLst>
          <pc:docMk/>
          <pc:sldMk cId="1064434985" sldId="4677"/>
        </pc:sldMkLst>
        <pc:spChg chg="mod">
          <ac:chgData name="Jahn, Ulrike" userId="e755dc28-2a91-4eab-bb26-e943cf0d1d94" providerId="ADAL" clId="{B088861B-BA8E-4E34-AB26-772D83A18EA5}" dt="2026-02-05T16:32:02.140" v="43" actId="20577"/>
          <ac:spMkLst>
            <pc:docMk/>
            <pc:sldMk cId="1064434985" sldId="4677"/>
            <ac:spMk id="4" creationId="{42C8730E-6763-D657-5E9A-5F58418B73C3}"/>
          </ac:spMkLst>
        </pc:spChg>
      </pc:sldChg>
      <pc:sldChg chg="modSp mod">
        <pc:chgData name="Jahn, Ulrike" userId="e755dc28-2a91-4eab-bb26-e943cf0d1d94" providerId="ADAL" clId="{B088861B-BA8E-4E34-AB26-772D83A18EA5}" dt="2026-02-05T16:31:25.664" v="21" actId="14100"/>
        <pc:sldMkLst>
          <pc:docMk/>
          <pc:sldMk cId="833036909" sldId="12001"/>
        </pc:sldMkLst>
        <pc:spChg chg="mod">
          <ac:chgData name="Jahn, Ulrike" userId="e755dc28-2a91-4eab-bb26-e943cf0d1d94" providerId="ADAL" clId="{B088861B-BA8E-4E34-AB26-772D83A18EA5}" dt="2026-02-05T16:31:25.664" v="21" actId="14100"/>
          <ac:spMkLst>
            <pc:docMk/>
            <pc:sldMk cId="833036909" sldId="12001"/>
            <ac:spMk id="2" creationId="{DD32B899-DB09-408E-96A9-DE801C5D91EE}"/>
          </ac:spMkLst>
        </pc:spChg>
      </pc:sldChg>
      <pc:sldChg chg="modSp mod">
        <pc:chgData name="Jahn, Ulrike" userId="e755dc28-2a91-4eab-bb26-e943cf0d1d94" providerId="ADAL" clId="{B088861B-BA8E-4E34-AB26-772D83A18EA5}" dt="2026-02-05T16:31:37.734" v="30" actId="14100"/>
        <pc:sldMkLst>
          <pc:docMk/>
          <pc:sldMk cId="2787788073" sldId="12002"/>
        </pc:sldMkLst>
        <pc:spChg chg="mod">
          <ac:chgData name="Jahn, Ulrike" userId="e755dc28-2a91-4eab-bb26-e943cf0d1d94" providerId="ADAL" clId="{B088861B-BA8E-4E34-AB26-772D83A18EA5}" dt="2026-02-05T16:31:37.734" v="30" actId="14100"/>
          <ac:spMkLst>
            <pc:docMk/>
            <pc:sldMk cId="2787788073" sldId="12002"/>
            <ac:spMk id="2" creationId="{DD32B899-DB09-408E-96A9-DE801C5D91EE}"/>
          </ac:spMkLst>
        </pc:spChg>
      </pc:sldChg>
      <pc:sldChg chg="modSp mod">
        <pc:chgData name="Jahn, Ulrike" userId="e755dc28-2a91-4eab-bb26-e943cf0d1d94" providerId="ADAL" clId="{B088861B-BA8E-4E34-AB26-772D83A18EA5}" dt="2026-02-06T17:56:07.863" v="67" actId="20577"/>
        <pc:sldMkLst>
          <pc:docMk/>
          <pc:sldMk cId="352076152" sldId="12004"/>
        </pc:sldMkLst>
        <pc:spChg chg="mod">
          <ac:chgData name="Jahn, Ulrike" userId="e755dc28-2a91-4eab-bb26-e943cf0d1d94" providerId="ADAL" clId="{B088861B-BA8E-4E34-AB26-772D83A18EA5}" dt="2026-02-05T16:31:52.047" v="39" actId="14100"/>
          <ac:spMkLst>
            <pc:docMk/>
            <pc:sldMk cId="352076152" sldId="12004"/>
            <ac:spMk id="13" creationId="{25131646-0AD5-4257-5FEC-2EF0F4698294}"/>
          </ac:spMkLst>
        </pc:spChg>
        <pc:spChg chg="mod">
          <ac:chgData name="Jahn, Ulrike" userId="e755dc28-2a91-4eab-bb26-e943cf0d1d94" providerId="ADAL" clId="{B088861B-BA8E-4E34-AB26-772D83A18EA5}" dt="2026-02-06T17:56:07.863" v="67" actId="20577"/>
          <ac:spMkLst>
            <pc:docMk/>
            <pc:sldMk cId="352076152" sldId="12004"/>
            <ac:spMk id="17" creationId="{14933CA7-0570-0B4F-7612-A4CE3C6F4D2E}"/>
          </ac:spMkLst>
        </pc:spChg>
      </pc:sldChg>
    </pc:docChg>
  </pc:docChgLst>
  <pc:docChgLst>
    <pc:chgData name="Oreski Gernot | PCCL" userId="4c07b3ba-cd8a-4935-8a08-8c0074eb1ed0" providerId="ADAL" clId="{B7767A0B-C233-415D-836F-F52C99DDB1D5}"/>
    <pc:docChg chg="undo custSel modSld">
      <pc:chgData name="Oreski Gernot | PCCL" userId="4c07b3ba-cd8a-4935-8a08-8c0074eb1ed0" providerId="ADAL" clId="{B7767A0B-C233-415D-836F-F52C99DDB1D5}" dt="2026-02-05T13:55:01.187" v="131" actId="14100"/>
      <pc:docMkLst>
        <pc:docMk/>
      </pc:docMkLst>
      <pc:sldChg chg="modSp mod">
        <pc:chgData name="Oreski Gernot | PCCL" userId="4c07b3ba-cd8a-4935-8a08-8c0074eb1ed0" providerId="ADAL" clId="{B7767A0B-C233-415D-836F-F52C99DDB1D5}" dt="2026-02-05T13:55:01.187" v="131" actId="14100"/>
        <pc:sldMkLst>
          <pc:docMk/>
          <pc:sldMk cId="1064434985" sldId="4677"/>
        </pc:sldMkLst>
        <pc:spChg chg="mod">
          <ac:chgData name="Oreski Gernot | PCCL" userId="4c07b3ba-cd8a-4935-8a08-8c0074eb1ed0" providerId="ADAL" clId="{B7767A0B-C233-415D-836F-F52C99DDB1D5}" dt="2026-02-05T13:55:01.187" v="131" actId="14100"/>
          <ac:spMkLst>
            <pc:docMk/>
            <pc:sldMk cId="1064434985" sldId="4677"/>
            <ac:spMk id="15" creationId="{39918276-8203-417F-BCD4-DD500BC36BCA}"/>
          </ac:spMkLst>
        </pc:spChg>
      </pc:sldChg>
      <pc:sldChg chg="modSp mod">
        <pc:chgData name="Oreski Gernot | PCCL" userId="4c07b3ba-cd8a-4935-8a08-8c0074eb1ed0" providerId="ADAL" clId="{B7767A0B-C233-415D-836F-F52C99DDB1D5}" dt="2026-02-05T10:05:46.723" v="0" actId="947"/>
        <pc:sldMkLst>
          <pc:docMk/>
          <pc:sldMk cId="833036909" sldId="12001"/>
        </pc:sldMkLst>
        <pc:spChg chg="mod">
          <ac:chgData name="Oreski Gernot | PCCL" userId="4c07b3ba-cd8a-4935-8a08-8c0074eb1ed0" providerId="ADAL" clId="{B7767A0B-C233-415D-836F-F52C99DDB1D5}" dt="2026-02-05T10:05:46.723" v="0" actId="947"/>
          <ac:spMkLst>
            <pc:docMk/>
            <pc:sldMk cId="833036909" sldId="12001"/>
            <ac:spMk id="6" creationId="{67D7545D-6CB9-E52F-4FD2-5C2F85C92FBE}"/>
          </ac:spMkLst>
        </pc:spChg>
      </pc:sldChg>
      <pc:sldChg chg="modSp mod">
        <pc:chgData name="Oreski Gernot | PCCL" userId="4c07b3ba-cd8a-4935-8a08-8c0074eb1ed0" providerId="ADAL" clId="{B7767A0B-C233-415D-836F-F52C99DDB1D5}" dt="2026-02-05T10:09:00.058" v="63" actId="1076"/>
        <pc:sldMkLst>
          <pc:docMk/>
          <pc:sldMk cId="352076152" sldId="12004"/>
        </pc:sldMkLst>
        <pc:spChg chg="mod">
          <ac:chgData name="Oreski Gernot | PCCL" userId="4c07b3ba-cd8a-4935-8a08-8c0074eb1ed0" providerId="ADAL" clId="{B7767A0B-C233-415D-836F-F52C99DDB1D5}" dt="2026-02-05T10:07:53.484" v="9" actId="1076"/>
          <ac:spMkLst>
            <pc:docMk/>
            <pc:sldMk cId="352076152" sldId="12004"/>
            <ac:spMk id="5" creationId="{B985A3B5-5720-648A-E8D4-5D124D385DC6}"/>
          </ac:spMkLst>
        </pc:spChg>
        <pc:spChg chg="mod">
          <ac:chgData name="Oreski Gernot | PCCL" userId="4c07b3ba-cd8a-4935-8a08-8c0074eb1ed0" providerId="ADAL" clId="{B7767A0B-C233-415D-836F-F52C99DDB1D5}" dt="2026-02-05T10:08:51.685" v="60" actId="20577"/>
          <ac:spMkLst>
            <pc:docMk/>
            <pc:sldMk cId="352076152" sldId="12004"/>
            <ac:spMk id="17" creationId="{14933CA7-0570-0B4F-7612-A4CE3C6F4D2E}"/>
          </ac:spMkLst>
        </pc:spChg>
        <pc:picChg chg="mod">
          <ac:chgData name="Oreski Gernot | PCCL" userId="4c07b3ba-cd8a-4935-8a08-8c0074eb1ed0" providerId="ADAL" clId="{B7767A0B-C233-415D-836F-F52C99DDB1D5}" dt="2026-02-05T10:09:00.058" v="63" actId="1076"/>
          <ac:picMkLst>
            <pc:docMk/>
            <pc:sldMk cId="352076152" sldId="12004"/>
            <ac:picMk id="2" creationId="{DD06F880-5586-0665-38C1-8D0B6A0C2F0A}"/>
          </ac:picMkLst>
        </pc:picChg>
      </pc:sldChg>
    </pc:docChg>
  </pc:docChgLst>
  <pc:docChgLst>
    <pc:chgData name="Oreski Gernot | PCCL" userId="4c07b3ba-cd8a-4935-8a08-8c0074eb1ed0" providerId="ADAL" clId="{06CE0FB0-6A01-47A4-A029-C273A8F7DB51}"/>
    <pc:docChg chg="modSld">
      <pc:chgData name="Oreski Gernot | PCCL" userId="4c07b3ba-cd8a-4935-8a08-8c0074eb1ed0" providerId="ADAL" clId="{06CE0FB0-6A01-47A4-A029-C273A8F7DB51}" dt="2026-01-15T15:02:43.379" v="10" actId="20577"/>
      <pc:docMkLst>
        <pc:docMk/>
      </pc:docMkLst>
      <pc:sldChg chg="modSp mod">
        <pc:chgData name="Oreski Gernot | PCCL" userId="4c07b3ba-cd8a-4935-8a08-8c0074eb1ed0" providerId="ADAL" clId="{06CE0FB0-6A01-47A4-A029-C273A8F7DB51}" dt="2026-01-15T15:02:43.379" v="10" actId="20577"/>
        <pc:sldMkLst>
          <pc:docMk/>
          <pc:sldMk cId="1064434985" sldId="4677"/>
        </pc:sldMkLst>
        <pc:spChg chg="mod">
          <ac:chgData name="Oreski Gernot | PCCL" userId="4c07b3ba-cd8a-4935-8a08-8c0074eb1ed0" providerId="ADAL" clId="{06CE0FB0-6A01-47A4-A029-C273A8F7DB51}" dt="2026-01-15T15:02:43.379" v="10" actId="20577"/>
          <ac:spMkLst>
            <pc:docMk/>
            <pc:sldMk cId="1064434985" sldId="4677"/>
            <ac:spMk id="4" creationId="{42C8730E-6763-D657-5E9A-5F58418B73C3}"/>
          </ac:spMkLst>
        </pc:spChg>
        <pc:spChg chg="mod">
          <ac:chgData name="Oreski Gernot | PCCL" userId="4c07b3ba-cd8a-4935-8a08-8c0074eb1ed0" providerId="ADAL" clId="{06CE0FB0-6A01-47A4-A029-C273A8F7DB51}" dt="2026-01-15T15:02:35.014" v="1"/>
          <ac:spMkLst>
            <pc:docMk/>
            <pc:sldMk cId="1064434985" sldId="4677"/>
            <ac:spMk id="15" creationId="{39918276-8203-417F-BCD4-DD500BC36BCA}"/>
          </ac:spMkLst>
        </pc:spChg>
      </pc:sldChg>
      <pc:sldChg chg="modSp mod">
        <pc:chgData name="Oreski Gernot | PCCL" userId="4c07b3ba-cd8a-4935-8a08-8c0074eb1ed0" providerId="ADAL" clId="{06CE0FB0-6A01-47A4-A029-C273A8F7DB51}" dt="2026-01-09T09:40:25.587" v="0" actId="1076"/>
        <pc:sldMkLst>
          <pc:docMk/>
          <pc:sldMk cId="352076152" sldId="12004"/>
        </pc:sldMkLst>
        <pc:picChg chg="mod">
          <ac:chgData name="Oreski Gernot | PCCL" userId="4c07b3ba-cd8a-4935-8a08-8c0074eb1ed0" providerId="ADAL" clId="{06CE0FB0-6A01-47A4-A029-C273A8F7DB51}" dt="2026-01-09T09:40:25.587" v="0" actId="1076"/>
          <ac:picMkLst>
            <pc:docMk/>
            <pc:sldMk cId="352076152" sldId="12004"/>
            <ac:picMk id="2" creationId="{DD06F880-5586-0665-38C1-8D0B6A0C2F0A}"/>
          </ac:picMkLst>
        </pc:picChg>
      </pc:sldChg>
    </pc:docChg>
  </pc:docChgLst>
  <pc:docChgLst>
    <pc:chgData name="Oreski Gernot | PCCL" userId="S::gernot.oreski_pccl.at#ext#@fraunhofer.onmicrosoft.com::99a270f3-80a0-4514-9564-e7018f03aa93" providerId="AD" clId="Web-{0E80D533-0F62-43C1-998E-04D10810C591}"/>
    <pc:docChg chg="modSld">
      <pc:chgData name="Oreski Gernot | PCCL" userId="S::gernot.oreski_pccl.at#ext#@fraunhofer.onmicrosoft.com::99a270f3-80a0-4514-9564-e7018f03aa93" providerId="AD" clId="Web-{0E80D533-0F62-43C1-998E-04D10810C591}" dt="2026-02-05T11:59:39.280" v="4" actId="20577"/>
      <pc:docMkLst>
        <pc:docMk/>
      </pc:docMkLst>
      <pc:sldChg chg="modSp">
        <pc:chgData name="Oreski Gernot | PCCL" userId="S::gernot.oreski_pccl.at#ext#@fraunhofer.onmicrosoft.com::99a270f3-80a0-4514-9564-e7018f03aa93" providerId="AD" clId="Web-{0E80D533-0F62-43C1-998E-04D10810C591}" dt="2026-02-05T11:59:39.280" v="4" actId="20577"/>
        <pc:sldMkLst>
          <pc:docMk/>
          <pc:sldMk cId="1064434985" sldId="4677"/>
        </pc:sldMkLst>
        <pc:spChg chg="mod">
          <ac:chgData name="Oreski Gernot | PCCL" userId="S::gernot.oreski_pccl.at#ext#@fraunhofer.onmicrosoft.com::99a270f3-80a0-4514-9564-e7018f03aa93" providerId="AD" clId="Web-{0E80D533-0F62-43C1-998E-04D10810C591}" dt="2026-02-05T11:59:39.280" v="4" actId="20577"/>
          <ac:spMkLst>
            <pc:docMk/>
            <pc:sldMk cId="1064434985" sldId="4677"/>
            <ac:spMk id="15" creationId="{39918276-8203-417F-BCD4-DD500BC36BCA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0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Date Placeholder 2"/>
          <p:cNvSpPr>
            <a:spLocks noGrp="1"/>
          </p:cNvSpPr>
          <p:nvPr>
            <p:ph type="dt" idx="1"/>
          </p:nvPr>
        </p:nvSpPr>
        <p:spPr bwMode="auto">
          <a:xfrm>
            <a:off x="3850443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7272E4AE-A23F-4D9F-B4EF-A6ED45CEC049}" type="datetimeFigureOut">
              <a:rPr lang="en-GB"/>
              <a:t>06/02/2026</a:t>
            </a:fld>
            <a:endParaRPr lang="en-GB"/>
          </a:p>
        </p:txBody>
      </p:sp>
      <p:sp>
        <p:nvSpPr>
          <p:cNvPr id="6" name="Slide Image Placeholder 3"/>
          <p:cNvSpPr>
            <a:spLocks noGrp="1" noRot="1" noChangeAspect="1"/>
          </p:cNvSpPr>
          <p:nvPr>
            <p:ph type="sldImg" idx="2"/>
          </p:nvPr>
        </p:nvSpPr>
        <p:spPr bwMode="auto">
          <a:xfrm>
            <a:off x="107949" y="739775"/>
            <a:ext cx="6581774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>
              <a:defRPr/>
            </a:pPr>
            <a:endParaRPr lang="en-GB"/>
          </a:p>
        </p:txBody>
      </p:sp>
      <p:sp>
        <p:nvSpPr>
          <p:cNvPr id="7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79768" y="4689515"/>
            <a:ext cx="5438140" cy="444269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GB"/>
          </a:p>
        </p:txBody>
      </p:sp>
      <p:sp>
        <p:nvSpPr>
          <p:cNvPr id="8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0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9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3850443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fld id="{E0649404-AEEE-4B4E-B616-1BC6E4EEEF5D}" type="slidenum">
              <a:rPr lang="en-GB"/>
              <a:t>‹Nr.›</a:t>
            </a:fld>
            <a:endParaRPr lang="en-GB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>
      <a:defRPr sz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4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_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250832" y="3078039"/>
            <a:ext cx="8316913" cy="519694"/>
          </a:xfrm>
          <a:prstGeom prst="rect">
            <a:avLst/>
          </a:prstGeom>
        </p:spPr>
        <p:txBody>
          <a:bodyPr lIns="0" anchor="b" anchorCtr="0">
            <a:noAutofit/>
          </a:bodyPr>
          <a:lstStyle>
            <a:lvl1pPr marL="161988" marR="0" indent="-161988" algn="l" defTabSz="685749" rtl="0" eaLnBrk="1" fontAlgn="auto" latinLnBrk="0" hangingPunct="1">
              <a:lnSpc>
                <a:spcPct val="100000"/>
              </a:lnSpc>
              <a:spcBef>
                <a:spcPts val="165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SzPct val="100000"/>
              <a:buFont typeface="Calibri" panose="020F0502020204030204" pitchFamily="34" charset="0"/>
              <a:buNone/>
              <a:tabLst/>
              <a:defRPr lang="en-US" sz="24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161988" marR="0" lvl="0" indent="-161988" algn="l" defTabSz="685749" rtl="0" eaLnBrk="1" fontAlgn="auto" latinLnBrk="0" hangingPunct="1">
              <a:lnSpc>
                <a:spcPct val="100000"/>
              </a:lnSpc>
              <a:spcBef>
                <a:spcPts val="165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SzPct val="100000"/>
              <a:buFont typeface="Calibri" panose="020F0502020204030204" pitchFamily="34" charset="0"/>
              <a:buNone/>
              <a:tabLst/>
              <a:defRPr/>
            </a:pPr>
            <a:r>
              <a:rPr lang="en-GB"/>
              <a:t>Title Slide 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250825" y="3741627"/>
            <a:ext cx="8316912" cy="306684"/>
          </a:xfrm>
          <a:prstGeom prst="rect">
            <a:avLst/>
          </a:prstGeom>
        </p:spPr>
        <p:txBody>
          <a:bodyPr lIns="0">
            <a:noAutofit/>
          </a:bodyPr>
          <a:lstStyle>
            <a:lvl1pPr marL="161988" marR="0" indent="-161988" algn="l" defTabSz="685749" rtl="0" eaLnBrk="1" fontAlgn="auto" latinLnBrk="0" hangingPunct="1">
              <a:lnSpc>
                <a:spcPct val="100000"/>
              </a:lnSpc>
              <a:spcBef>
                <a:spcPts val="165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SzPct val="100000"/>
              <a:buFont typeface="Calibri" panose="020F0502020204030204" pitchFamily="34" charset="0"/>
              <a:buNone/>
              <a:tabLst/>
              <a:defRPr lang="en-US" sz="1800" kern="1200" baseline="0">
                <a:solidFill>
                  <a:srgbClr val="003C7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161988" marR="0" lvl="0" indent="-161988" algn="l" defTabSz="685749" rtl="0" eaLnBrk="1" fontAlgn="auto" latinLnBrk="0" hangingPunct="1">
              <a:lnSpc>
                <a:spcPct val="100000"/>
              </a:lnSpc>
              <a:spcBef>
                <a:spcPts val="165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SzPct val="100000"/>
              <a:buFont typeface="Calibri" panose="020F0502020204030204" pitchFamily="34" charset="0"/>
              <a:buNone/>
              <a:tabLst/>
              <a:defRPr/>
            </a:pPr>
            <a:r>
              <a:rPr lang="en-US"/>
              <a:t>Name of presenter, affiliation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C9034874-11D5-DA4F-9B23-34D9DE8C6D0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0825" y="4169667"/>
            <a:ext cx="8316912" cy="306684"/>
          </a:xfrm>
          <a:prstGeom prst="rect">
            <a:avLst/>
          </a:prstGeom>
        </p:spPr>
        <p:txBody>
          <a:bodyPr lIns="0">
            <a:noAutofit/>
          </a:bodyPr>
          <a:lstStyle>
            <a:lvl1pPr marL="161988" marR="0" indent="-161988" algn="l" defTabSz="685749" rtl="0" eaLnBrk="1" fontAlgn="auto" latinLnBrk="0" hangingPunct="1">
              <a:lnSpc>
                <a:spcPct val="100000"/>
              </a:lnSpc>
              <a:spcBef>
                <a:spcPts val="165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SzPct val="100000"/>
              <a:buFont typeface="Calibri" panose="020F0502020204030204" pitchFamily="34" charset="0"/>
              <a:buNone/>
              <a:tabLst/>
              <a:defRPr lang="en-US" sz="1800" kern="1200" baseline="0" dirty="0" smtClean="0">
                <a:solidFill>
                  <a:srgbClr val="003C7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161988" marR="0" lvl="0" indent="-161988" algn="l" defTabSz="685749" rtl="0" eaLnBrk="1" fontAlgn="auto" latinLnBrk="0" hangingPunct="1">
              <a:lnSpc>
                <a:spcPct val="100000"/>
              </a:lnSpc>
              <a:spcBef>
                <a:spcPts val="165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SzPct val="100000"/>
              <a:buFont typeface="Calibri" panose="020F0502020204030204" pitchFamily="34" charset="0"/>
              <a:buNone/>
              <a:tabLst/>
              <a:defRPr/>
            </a:pPr>
            <a:r>
              <a:rPr lang="en-US"/>
              <a:t>Location &amp; date of presentation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B0CF8910-3997-4186-A545-A8CE55D63B8A}"/>
              </a:ext>
            </a:extLst>
          </p:cNvPr>
          <p:cNvGrpSpPr/>
          <p:nvPr userDrawn="1"/>
        </p:nvGrpSpPr>
        <p:grpSpPr>
          <a:xfrm>
            <a:off x="0" y="4566602"/>
            <a:ext cx="9144000" cy="576898"/>
            <a:chOff x="0" y="4566602"/>
            <a:chExt cx="9144000" cy="576898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8E115815-0F41-46F9-BB8D-BD27EDE65B2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4566602"/>
              <a:ext cx="3509963" cy="576897"/>
            </a:xfrm>
            <a:prstGeom prst="rect">
              <a:avLst/>
            </a:prstGeom>
          </p:spPr>
        </p:pic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2FD94CB0-C6F5-442C-A11F-801B15C89173}"/>
                </a:ext>
              </a:extLst>
            </p:cNvPr>
            <p:cNvSpPr/>
            <p:nvPr userDrawn="1"/>
          </p:nvSpPr>
          <p:spPr>
            <a:xfrm>
              <a:off x="3362325" y="4566602"/>
              <a:ext cx="5781675" cy="576898"/>
            </a:xfrm>
            <a:prstGeom prst="rect">
              <a:avLst/>
            </a:prstGeom>
            <a:solidFill>
              <a:srgbClr val="0044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20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pic>
        <p:nvPicPr>
          <p:cNvPr id="11" name="Picture 10" descr="A close up of a sign&#10;&#10;Description automatically generated">
            <a:extLst>
              <a:ext uri="{FF2B5EF4-FFF2-40B4-BE49-F238E27FC236}">
                <a16:creationId xmlns:a16="http://schemas.microsoft.com/office/drawing/2014/main" id="{E591FF45-0F7D-4F07-B6E4-5EA937F3981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0825" y="1714288"/>
            <a:ext cx="2196767" cy="110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75378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59" userDrawn="1">
          <p15:clr>
            <a:srgbClr val="FBAE40"/>
          </p15:clr>
        </p15:guide>
        <p15:guide id="2" orient="horz" pos="826" userDrawn="1">
          <p15:clr>
            <a:srgbClr val="FBAE40"/>
          </p15:clr>
        </p15:guide>
        <p15:guide id="3" pos="5603" userDrawn="1">
          <p15:clr>
            <a:srgbClr val="FBAE40"/>
          </p15:clr>
        </p15:guide>
        <p15:guide id="4" pos="5397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8441CA57-6943-9F41-9E1E-50E2F585B99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50828" y="218815"/>
            <a:ext cx="7289701" cy="434767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lang="en-US" sz="2400" b="1" kern="1200" baseline="0" dirty="0">
                <a:solidFill>
                  <a:srgbClr val="F4821F"/>
                </a:solidFill>
                <a:uFill>
                  <a:solidFill>
                    <a:schemeClr val="tx2"/>
                  </a:solidFill>
                </a:u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itle – one lin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26A7C0A-1BA5-C74C-BEC1-1A990858C7D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6446" y="1208565"/>
            <a:ext cx="8440119" cy="3362932"/>
          </a:xfrm>
          <a:prstGeom prst="rect">
            <a:avLst/>
          </a:prstGeom>
        </p:spPr>
        <p:txBody>
          <a:bodyPr lIns="0"/>
          <a:lstStyle>
            <a:lvl1pPr marL="269981" indent="-134532">
              <a:spcBef>
                <a:spcPts val="600"/>
              </a:spcBef>
              <a:spcAft>
                <a:spcPts val="600"/>
              </a:spcAft>
              <a:buClr>
                <a:srgbClr val="003C7D"/>
              </a:buClr>
              <a:buFont typeface="Arial" panose="020B0604020202020204" pitchFamily="34" charset="0"/>
              <a:buChar char="•"/>
              <a:defRPr sz="1800" baseline="0">
                <a:solidFill>
                  <a:srgbClr val="003C7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04970" indent="-134991">
              <a:spcBef>
                <a:spcPts val="600"/>
              </a:spcBef>
              <a:spcAft>
                <a:spcPts val="600"/>
              </a:spcAft>
              <a:buClr>
                <a:srgbClr val="003C7D"/>
              </a:buClr>
              <a:buFont typeface="Arial" panose="020B0604020202020204" pitchFamily="34" charset="0"/>
              <a:buChar char="•"/>
              <a:defRPr sz="1700">
                <a:solidFill>
                  <a:srgbClr val="003C7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39314" indent="-134532">
              <a:spcBef>
                <a:spcPts val="300"/>
              </a:spcBef>
              <a:spcAft>
                <a:spcPts val="300"/>
              </a:spcAft>
              <a:buClr>
                <a:srgbClr val="003C7D"/>
              </a:buClr>
              <a:buFont typeface="Arial" panose="020B0604020202020204" pitchFamily="34" charset="0"/>
              <a:buChar char="•"/>
              <a:defRPr sz="1600">
                <a:solidFill>
                  <a:srgbClr val="003C7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675034" indent="-135722">
              <a:spcBef>
                <a:spcPts val="300"/>
              </a:spcBef>
              <a:spcAft>
                <a:spcPts val="300"/>
              </a:spcAft>
              <a:buClr>
                <a:srgbClr val="003C7D"/>
              </a:buClr>
              <a:buFont typeface="Arial" panose="020B0604020202020204" pitchFamily="34" charset="0"/>
              <a:buChar char="•"/>
              <a:defRPr sz="1600">
                <a:solidFill>
                  <a:srgbClr val="003C7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809940" indent="-134991">
              <a:spcBef>
                <a:spcPts val="300"/>
              </a:spcBef>
              <a:spcAft>
                <a:spcPts val="300"/>
              </a:spcAft>
              <a:buClr>
                <a:srgbClr val="003C7D"/>
              </a:buClr>
              <a:buFont typeface="Arial" panose="020B0604020202020204" pitchFamily="34" charset="0"/>
              <a:buChar char="•"/>
              <a:defRPr sz="1600">
                <a:solidFill>
                  <a:srgbClr val="003C7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ontent slid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A041BF8-9BAF-43B4-B220-52ADAFDF68B7}"/>
              </a:ext>
            </a:extLst>
          </p:cNvPr>
          <p:cNvSpPr txBox="1"/>
          <p:nvPr userDrawn="1"/>
        </p:nvSpPr>
        <p:spPr>
          <a:xfrm rot="16200000">
            <a:off x="-1089194" y="3415786"/>
            <a:ext cx="29025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1800" b="1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18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2ADFA058-395C-41E3-81A3-9BF3DDBEB86D}"/>
              </a:ext>
            </a:extLst>
          </p:cNvPr>
          <p:cNvCxnSpPr>
            <a:cxnSpLocks/>
          </p:cNvCxnSpPr>
          <p:nvPr userDrawn="1"/>
        </p:nvCxnSpPr>
        <p:spPr>
          <a:xfrm>
            <a:off x="1" y="1070799"/>
            <a:ext cx="7873999" cy="0"/>
          </a:xfrm>
          <a:prstGeom prst="line">
            <a:avLst/>
          </a:prstGeom>
          <a:ln>
            <a:solidFill>
              <a:srgbClr val="F4821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ZoneTexte 1">
            <a:extLst>
              <a:ext uri="{FF2B5EF4-FFF2-40B4-BE49-F238E27FC236}">
                <a16:creationId xmlns:a16="http://schemas.microsoft.com/office/drawing/2014/main" id="{D17CED54-1D9F-4D17-B816-3FBB5510AC75}"/>
              </a:ext>
            </a:extLst>
          </p:cNvPr>
          <p:cNvSpPr txBox="1"/>
          <p:nvPr userDrawn="1"/>
        </p:nvSpPr>
        <p:spPr>
          <a:xfrm>
            <a:off x="8179547" y="4696303"/>
            <a:ext cx="65144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E6C6F911-DFDC-4B93-962C-66F0D8D51AD1}" type="slidenum">
              <a:rPr lang="en-US" sz="900" smtClean="0">
                <a:latin typeface="Arial" panose="020B0604020202020204" pitchFamily="34" charset="0"/>
                <a:cs typeface="Arial" panose="020B0604020202020204" pitchFamily="34" charset="0"/>
              </a:rPr>
              <a:t>‹Nr.›</a:t>
            </a:fld>
            <a:endParaRPr lang="en-US" sz="1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1" name="Picture 10" descr="A picture containing clock, fence&#10;&#10;Description automatically generated">
            <a:extLst>
              <a:ext uri="{FF2B5EF4-FFF2-40B4-BE49-F238E27FC236}">
                <a16:creationId xmlns:a16="http://schemas.microsoft.com/office/drawing/2014/main" id="{ACD180F0-DF58-4D42-98CD-411CBBA27EF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09528" y="173760"/>
            <a:ext cx="662032" cy="617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3663072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146" userDrawn="1">
          <p15:clr>
            <a:srgbClr val="FBAE40"/>
          </p15:clr>
        </p15:guide>
        <p15:guide id="2" pos="159" userDrawn="1">
          <p15:clr>
            <a:srgbClr val="FBAE40"/>
          </p15:clr>
        </p15:guide>
        <p15:guide id="3" orient="horz" pos="1620" userDrawn="1">
          <p15:clr>
            <a:srgbClr val="FBAE40"/>
          </p15:clr>
        </p15:guide>
        <p15:guide id="4" pos="5603" userDrawn="1">
          <p15:clr>
            <a:srgbClr val="FBAE40"/>
          </p15:clr>
        </p15:guide>
        <p15:guide id="5" pos="5397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Graph &amp; Key Po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4C7B6C7-20A7-0644-AFFD-0DC74CEEAA6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50829" y="218815"/>
            <a:ext cx="7123096" cy="434767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lang="en-US" sz="2400" b="1" kern="1200" baseline="0" dirty="0">
                <a:solidFill>
                  <a:srgbClr val="F4821F"/>
                </a:solidFill>
                <a:uFill>
                  <a:solidFill>
                    <a:schemeClr val="tx2"/>
                  </a:solidFill>
                </a:u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itle – one line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83349B83-1EFF-784E-93D0-021CF6186D9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16863" y="4420927"/>
            <a:ext cx="6431743" cy="434767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buNone/>
              <a:defRPr lang="en-US" sz="1200" b="0" kern="1200" baseline="0" dirty="0">
                <a:solidFill>
                  <a:srgbClr val="003C7D"/>
                </a:solidFill>
                <a:uFill>
                  <a:solidFill>
                    <a:schemeClr val="tx2"/>
                  </a:solidFill>
                </a:u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Key point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9246A33C-4CCA-D94F-B63F-FDDF33C5941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0831" y="728870"/>
            <a:ext cx="8567735" cy="28437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lang="en-US" sz="1200" kern="1200" dirty="0">
                <a:solidFill>
                  <a:srgbClr val="003C7D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Graph title, centered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844501" y="1075576"/>
            <a:ext cx="7576459" cy="3053747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GB"/>
          </a:p>
        </p:txBody>
      </p:sp>
      <p:sp>
        <p:nvSpPr>
          <p:cNvPr id="10" name="TextBox 5">
            <a:extLst>
              <a:ext uri="{FF2B5EF4-FFF2-40B4-BE49-F238E27FC236}">
                <a16:creationId xmlns:a16="http://schemas.microsoft.com/office/drawing/2014/main" id="{79F1FF97-645E-4048-9065-9182BF663448}"/>
              </a:ext>
            </a:extLst>
          </p:cNvPr>
          <p:cNvSpPr txBox="1"/>
          <p:nvPr userDrawn="1"/>
        </p:nvSpPr>
        <p:spPr>
          <a:xfrm rot="16200000">
            <a:off x="-1089194" y="3415786"/>
            <a:ext cx="29025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1800" b="1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18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2C8A4C11-F344-4FAA-81B6-12046C2A66E7}"/>
              </a:ext>
            </a:extLst>
          </p:cNvPr>
          <p:cNvSpPr txBox="1"/>
          <p:nvPr userDrawn="1"/>
        </p:nvSpPr>
        <p:spPr>
          <a:xfrm>
            <a:off x="8179547" y="4696303"/>
            <a:ext cx="65144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E6C6F911-DFDC-4B93-962C-66F0D8D51AD1}" type="slidenum">
              <a:rPr lang="en-US" sz="900" smtClean="0">
                <a:latin typeface="Arial" panose="020B0604020202020204" pitchFamily="34" charset="0"/>
                <a:cs typeface="Arial" panose="020B0604020202020204" pitchFamily="34" charset="0"/>
              </a:rPr>
              <a:t>‹Nr.›</a:t>
            </a:fld>
            <a:endParaRPr lang="en-US" sz="135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2" name="Straight Connector 6">
            <a:extLst>
              <a:ext uri="{FF2B5EF4-FFF2-40B4-BE49-F238E27FC236}">
                <a16:creationId xmlns:a16="http://schemas.microsoft.com/office/drawing/2014/main" id="{6CDB6413-C17C-4DB3-8430-8DAFF8093974}"/>
              </a:ext>
            </a:extLst>
          </p:cNvPr>
          <p:cNvCxnSpPr>
            <a:cxnSpLocks/>
          </p:cNvCxnSpPr>
          <p:nvPr userDrawn="1"/>
        </p:nvCxnSpPr>
        <p:spPr>
          <a:xfrm>
            <a:off x="1" y="666544"/>
            <a:ext cx="7873999" cy="0"/>
          </a:xfrm>
          <a:prstGeom prst="line">
            <a:avLst/>
          </a:prstGeom>
          <a:ln>
            <a:solidFill>
              <a:srgbClr val="F4821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0" descr="A picture containing clock, fence&#10;&#10;Description automatically generated">
            <a:extLst>
              <a:ext uri="{FF2B5EF4-FFF2-40B4-BE49-F238E27FC236}">
                <a16:creationId xmlns:a16="http://schemas.microsoft.com/office/drawing/2014/main" id="{F1276EED-63C0-4779-9B0A-6D56E5AB22C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09528" y="173760"/>
            <a:ext cx="662032" cy="617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4057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59" userDrawn="1">
          <p15:clr>
            <a:srgbClr val="FBAE40"/>
          </p15:clr>
        </p15:guide>
        <p15:guide id="2" pos="5603" userDrawn="1">
          <p15:clr>
            <a:srgbClr val="FBAE40"/>
          </p15:clr>
        </p15:guide>
        <p15:guide id="3" orient="horz" pos="146" userDrawn="1">
          <p15:clr>
            <a:srgbClr val="FBAE40"/>
          </p15:clr>
        </p15:guide>
        <p15:guide id="4" pos="5397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D95F3DF4-8EA0-6440-9F6C-69B61C55484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50831" y="1700700"/>
            <a:ext cx="8316913" cy="519694"/>
          </a:xfrm>
          <a:prstGeom prst="rect">
            <a:avLst/>
          </a:prstGeom>
        </p:spPr>
        <p:txBody>
          <a:bodyPr lIns="0" anchor="ctr" anchorCtr="1">
            <a:noAutofit/>
          </a:bodyPr>
          <a:lstStyle>
            <a:lvl1pPr marL="0" marR="0" indent="0" algn="ctr" defTabSz="6857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SzPct val="100000"/>
              <a:buFont typeface="Calibri" panose="020F0502020204030204" pitchFamily="34" charset="0"/>
              <a:buNone/>
              <a:tabLst/>
              <a:defRPr lang="en-US" sz="2400" b="1" kern="1200" dirty="0">
                <a:solidFill>
                  <a:srgbClr val="F4821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161988" marR="0" lvl="0" indent="-161988" algn="l" defTabSz="685749" rtl="0" eaLnBrk="1" fontAlgn="auto" latinLnBrk="0" hangingPunct="1">
              <a:lnSpc>
                <a:spcPct val="100000"/>
              </a:lnSpc>
              <a:spcBef>
                <a:spcPts val="165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SzPct val="100000"/>
              <a:buFont typeface="Calibri" panose="020F0502020204030204" pitchFamily="34" charset="0"/>
              <a:buNone/>
              <a:tabLst/>
              <a:defRPr/>
            </a:pPr>
            <a:r>
              <a:rPr lang="en-US"/>
              <a:t>Thank you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835992F8-323D-EF4B-867E-02F746EE31C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0832" y="2339080"/>
            <a:ext cx="8316913" cy="293284"/>
          </a:xfrm>
          <a:prstGeom prst="rect">
            <a:avLst/>
          </a:prstGeom>
        </p:spPr>
        <p:txBody>
          <a:bodyPr lIns="0">
            <a:noAutofit/>
          </a:bodyPr>
          <a:lstStyle>
            <a:lvl1pPr marL="161988" marR="0" indent="-161988" algn="ctr" defTabSz="685749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SzPct val="100000"/>
              <a:buFont typeface="Calibri" panose="020F0502020204030204" pitchFamily="34" charset="0"/>
              <a:buNone/>
              <a:tabLst/>
              <a:defRPr lang="en-US" sz="1800" kern="1200" baseline="0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161988" marR="0" lvl="0" indent="-161988" algn="l" defTabSz="685749" rtl="0" eaLnBrk="1" fontAlgn="auto" latinLnBrk="0" hangingPunct="1">
              <a:lnSpc>
                <a:spcPct val="100000"/>
              </a:lnSpc>
              <a:spcBef>
                <a:spcPts val="165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SzPct val="100000"/>
              <a:buFont typeface="Calibri" panose="020F0502020204030204" pitchFamily="34" charset="0"/>
              <a:buNone/>
              <a:tabLst/>
              <a:defRPr/>
            </a:pPr>
            <a:r>
              <a:rPr lang="en-US"/>
              <a:t>Name, Task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856184C6-4F83-044B-B28D-60A04D01A54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3602" y="2646651"/>
            <a:ext cx="8316913" cy="293284"/>
          </a:xfrm>
          <a:prstGeom prst="rect">
            <a:avLst/>
          </a:prstGeom>
        </p:spPr>
        <p:txBody>
          <a:bodyPr lIns="0">
            <a:noAutofit/>
          </a:bodyPr>
          <a:lstStyle>
            <a:lvl1pPr marL="161988" marR="0" indent="-161988" algn="l" defTabSz="685749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SzPct val="100000"/>
              <a:buFont typeface="Calibri" panose="020F0502020204030204" pitchFamily="34" charset="0"/>
              <a:buNone/>
              <a:tabLst/>
              <a:defRPr lang="en-US" sz="1800" kern="1200" baseline="0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161988" marR="0" lvl="0" indent="-161988" algn="l" defTabSz="685749" rtl="0" eaLnBrk="1" fontAlgn="auto" latinLnBrk="0" hangingPunct="1">
              <a:lnSpc>
                <a:spcPct val="100000"/>
              </a:lnSpc>
              <a:spcBef>
                <a:spcPts val="165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SzPct val="100000"/>
              <a:buFont typeface="Calibri" panose="020F0502020204030204" pitchFamily="34" charset="0"/>
              <a:buNone/>
              <a:tabLst/>
              <a:defRPr/>
            </a:pPr>
            <a:r>
              <a:rPr lang="en-US"/>
              <a:t>email</a:t>
            </a: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948FBD9B-28A2-42C7-8E45-0732AA2F8749}"/>
              </a:ext>
            </a:extLst>
          </p:cNvPr>
          <p:cNvSpPr txBox="1"/>
          <p:nvPr userDrawn="1"/>
        </p:nvSpPr>
        <p:spPr>
          <a:xfrm>
            <a:off x="254587" y="129637"/>
            <a:ext cx="1973943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350" b="1">
                <a:latin typeface="Arial Nova" panose="020B0504020202020204" pitchFamily="34" charset="0"/>
              </a:rPr>
              <a:t>www.iea-pvps.org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FF74DEAC-5DC1-4765-8A8E-073D29527C02}"/>
              </a:ext>
            </a:extLst>
          </p:cNvPr>
          <p:cNvGrpSpPr/>
          <p:nvPr userDrawn="1"/>
        </p:nvGrpSpPr>
        <p:grpSpPr>
          <a:xfrm>
            <a:off x="0" y="4566602"/>
            <a:ext cx="9144000" cy="576898"/>
            <a:chOff x="0" y="4566602"/>
            <a:chExt cx="9144000" cy="576898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C481B272-5B9D-4754-BD11-72667CB3DB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4566602"/>
              <a:ext cx="3509963" cy="576897"/>
            </a:xfrm>
            <a:prstGeom prst="rect">
              <a:avLst/>
            </a:prstGeom>
          </p:spPr>
        </p:pic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8DFF1928-C522-45E0-99E5-0999082285CA}"/>
                </a:ext>
              </a:extLst>
            </p:cNvPr>
            <p:cNvSpPr/>
            <p:nvPr userDrawn="1"/>
          </p:nvSpPr>
          <p:spPr>
            <a:xfrm>
              <a:off x="3362325" y="4566602"/>
              <a:ext cx="5781675" cy="576898"/>
            </a:xfrm>
            <a:prstGeom prst="rect">
              <a:avLst/>
            </a:prstGeom>
            <a:solidFill>
              <a:srgbClr val="0044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20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pic>
        <p:nvPicPr>
          <p:cNvPr id="15" name="Picture 14" descr="A close up of a sign&#10;&#10;Description automatically generated">
            <a:extLst>
              <a:ext uri="{FF2B5EF4-FFF2-40B4-BE49-F238E27FC236}">
                <a16:creationId xmlns:a16="http://schemas.microsoft.com/office/drawing/2014/main" id="{1201AD07-F73F-4811-ACB6-618B74B00CB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2325" y="3129176"/>
            <a:ext cx="2196767" cy="1104605"/>
          </a:xfrm>
          <a:prstGeom prst="rect">
            <a:avLst/>
          </a:prstGeom>
        </p:spPr>
      </p:pic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159" userDrawn="1">
          <p15:clr>
            <a:srgbClr val="FBAE40"/>
          </p15:clr>
        </p15:guide>
        <p15:guide id="2" pos="5397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D32D3FA0-B7DE-4E16-8CD9-972489CE28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F8EDE1-E9A9-4B4A-A7FC-09CBD41BA678}" type="datetimeFigureOut">
              <a:rPr lang="de-DE" smtClean="0"/>
              <a:t>06.02.2026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3F083AC-AE53-4130-99C4-AD0CF8C6D6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8FEAE61-15BF-416D-8E56-D890C57B37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F1CA85-FF79-4D0F-AF38-7213FC70270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0699309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10204A3-47B0-49A1-BD13-1C1471973FA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F6D114EF-2DED-4EA3-A72D-3E6CF8BCDFB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5AB6304-C17E-4F65-80E5-886B54A32A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1A639B-2937-4F58-973C-6F4EB4DDFE24}" type="datetimeFigureOut">
              <a:rPr lang="de-DE" smtClean="0"/>
              <a:t>06.02.2026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25BDEF4-F9F2-4AD1-9F09-E1B70BC685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BE994BA-C693-46D6-A67E-EA0E9C4FD5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D07B57-6F80-4829-A834-1A611074FD2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014558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01_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58426" y="251100"/>
            <a:ext cx="8425959" cy="276999"/>
          </a:xfrm>
        </p:spPr>
        <p:txBody>
          <a:bodyPr wrap="square">
            <a:spAutoFit/>
          </a:bodyPr>
          <a:lstStyle>
            <a:lvl1pPr marL="0" indent="0" defTabSz="378000">
              <a:defRPr baseline="0"/>
            </a:lvl1pPr>
          </a:lstStyle>
          <a:p>
            <a:r>
              <a:rPr lang="de-DE"/>
              <a:t>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58427" y="1329928"/>
            <a:ext cx="8425958" cy="3186113"/>
          </a:xfrm>
        </p:spPr>
        <p:txBody>
          <a:bodyPr/>
          <a:lstStyle>
            <a:lvl1pPr>
              <a:defRPr baseline="0"/>
            </a:lvl1pPr>
            <a:lvl2pPr>
              <a:defRPr baseline="0"/>
            </a:lvl2pPr>
            <a:lvl3pPr>
              <a:defRPr baseline="0"/>
            </a:lvl3pPr>
            <a:lvl4pPr>
              <a:defRPr baseline="0"/>
            </a:lvl4pPr>
            <a:lvl5pPr>
              <a:defRPr baseline="0"/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5593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 – 1 Sp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3EB3F1D-68CC-4D42-88C6-FD8519957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9929240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73EB3F1D-68CC-4D42-88C6-FD85199577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A281D1-4D07-42EA-89AA-EA4C03EDB0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569" y="583741"/>
            <a:ext cx="8424863" cy="239200"/>
          </a:xfrm>
        </p:spPr>
        <p:txBody>
          <a:bodyPr/>
          <a:lstStyle>
            <a:lvl1pPr>
              <a:defRPr sz="15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err="1"/>
              <a:t>Subline</a:t>
            </a:r>
            <a:endParaRPr lang="en-US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B248F117-35B0-48AA-A219-3A65D069DFE8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59569" y="1275160"/>
            <a:ext cx="8424862" cy="3213497"/>
          </a:xfrm>
        </p:spPr>
        <p:txBody>
          <a:bodyPr>
            <a:noAutofit/>
          </a:bodyPr>
          <a:lstStyle>
            <a:lvl1pPr>
              <a:defRPr sz="135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308004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417351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704" r:id="rId2"/>
    <p:sldLayoutId id="2147483703" r:id="rId3"/>
    <p:sldLayoutId id="2147483708" r:id="rId4"/>
    <p:sldLayoutId id="2147483709" r:id="rId5"/>
    <p:sldLayoutId id="2147483710" r:id="rId6"/>
    <p:sldLayoutId id="2147483711" r:id="rId7"/>
    <p:sldLayoutId id="2147483712" r:id="rId8"/>
  </p:sldLayoutIdLst>
  <p:hf hdr="0" ftr="0" dt="0"/>
  <p:txStyles>
    <p:titleStyle>
      <a:lvl1pPr algn="l" defTabSz="685749" rtl="0" eaLnBrk="1" latinLnBrk="0" hangingPunct="1">
        <a:spcBef>
          <a:spcPct val="0"/>
        </a:spcBef>
        <a:buNone/>
        <a:defRPr sz="27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1988" indent="-161988" algn="l" defTabSz="685749" rtl="0" eaLnBrk="1" latinLnBrk="0" hangingPunct="1">
        <a:spcBef>
          <a:spcPts val="1650"/>
        </a:spcBef>
        <a:buClr>
          <a:schemeClr val="bg1">
            <a:lumMod val="65000"/>
          </a:schemeClr>
        </a:buClr>
        <a:buSzPct val="100000"/>
        <a:buFont typeface="Calibri" panose="020F050202020403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404970" indent="-134991" algn="l" defTabSz="685749" rtl="0" eaLnBrk="1" latinLnBrk="0" hangingPunct="1">
        <a:spcBef>
          <a:spcPts val="375"/>
        </a:spcBef>
        <a:buClr>
          <a:schemeClr val="bg1">
            <a:lumMod val="65000"/>
          </a:schemeClr>
        </a:buClr>
        <a:buSzPct val="100000"/>
        <a:buFont typeface="Segoe UI" panose="020B0502040204020203" pitchFamily="34" charset="0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66958" indent="-134991" algn="l" defTabSz="685749" rtl="0" eaLnBrk="1" latinLnBrk="0" hangingPunct="1">
        <a:spcBef>
          <a:spcPts val="375"/>
        </a:spcBef>
        <a:buClr>
          <a:schemeClr val="bg1">
            <a:lumMod val="75000"/>
          </a:schemeClr>
        </a:buClr>
        <a:buFont typeface="Segoe UI" panose="020B0502040204020203" pitchFamily="34" charset="0"/>
        <a:buChar char="-"/>
        <a:defRPr sz="1050" kern="1200">
          <a:solidFill>
            <a:schemeClr val="tx1"/>
          </a:solidFill>
          <a:latin typeface="+mn-lt"/>
          <a:ea typeface="+mn-ea"/>
          <a:cs typeface="+mn-cs"/>
        </a:defRPr>
      </a:lvl3pPr>
      <a:lvl4pPr marL="1200060" indent="-171438" algn="l" defTabSz="685749" rtl="0" eaLnBrk="1" latinLnBrk="0" hangingPunct="1">
        <a:spcBef>
          <a:spcPct val="20000"/>
        </a:spcBef>
        <a:buFont typeface="Arial" panose="020B0604020202020204" pitchFamily="34" charset="0"/>
        <a:buChar char="∙"/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1542935" indent="-171438" algn="l" defTabSz="685749" rtl="0" eaLnBrk="1" latinLnBrk="0" hangingPunct="1">
        <a:spcBef>
          <a:spcPct val="20000"/>
        </a:spcBef>
        <a:buFont typeface="Arial" panose="020B0604020202020204" pitchFamily="34" charset="0"/>
        <a:buChar char="▫"/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809" indent="-171438" algn="l" defTabSz="685749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684" indent="-171438" algn="l" defTabSz="685749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558" indent="-171438" algn="l" defTabSz="685749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433" indent="-171438" algn="l" defTabSz="685749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75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49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24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498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373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46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120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2995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2ndcycle.at/en" TargetMode="External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39918276-8203-417F-BCD4-DD500BC36BC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50833" y="3189970"/>
            <a:ext cx="8741967" cy="519694"/>
          </a:xfrm>
        </p:spPr>
        <p:txBody>
          <a:bodyPr lIns="0" tIns="45720" rIns="91440" bIns="45720" anchor="b" anchorCtr="0">
            <a:noAutofit/>
          </a:bodyPr>
          <a:lstStyle/>
          <a:p>
            <a:pPr marL="161925" indent="-161925">
              <a:lnSpc>
                <a:spcPts val="2800"/>
              </a:lnSpc>
              <a:spcBef>
                <a:spcPts val="600"/>
              </a:spcBef>
            </a:pPr>
            <a:r>
              <a:rPr lang="en-US" sz="2000" dirty="0">
                <a:latin typeface="Arial"/>
                <a:cs typeface="Arial"/>
              </a:rPr>
              <a:t>	Performance and Reliability Aspects of 2nd Life Photovoltaic Modules</a:t>
            </a:r>
            <a:endParaRPr lang="en-US" sz="200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2C8730E-6763-D657-5E9A-5F58418B73C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0833" y="3772008"/>
            <a:ext cx="8316912" cy="306684"/>
          </a:xfrm>
        </p:spPr>
        <p:txBody>
          <a:bodyPr/>
          <a:lstStyle/>
          <a:p>
            <a:pPr>
              <a:spcBef>
                <a:spcPts val="600"/>
              </a:spcBef>
            </a:pPr>
            <a:r>
              <a:rPr lang="de-DE" dirty="0"/>
              <a:t>	Gernot Oreski, PCCL, Ioannis Tsanakas, CEA-INES </a:t>
            </a:r>
          </a:p>
          <a:p>
            <a:pPr>
              <a:spcBef>
                <a:spcPts val="600"/>
              </a:spcBef>
            </a:pPr>
            <a:r>
              <a:rPr lang="de-DE" dirty="0"/>
              <a:t>	Ulrike Jahn, Fraunhofer CSP; </a:t>
            </a:r>
            <a:r>
              <a:rPr lang="de-DE" dirty="0" err="1"/>
              <a:t>February</a:t>
            </a:r>
            <a:r>
              <a:rPr lang="de-DE" dirty="0"/>
              <a:t> 2026</a:t>
            </a:r>
          </a:p>
        </p:txBody>
      </p:sp>
      <p:sp>
        <p:nvSpPr>
          <p:cNvPr id="5" name="Textplatzhalter 3">
            <a:extLst>
              <a:ext uri="{FF2B5EF4-FFF2-40B4-BE49-F238E27FC236}">
                <a16:creationId xmlns:a16="http://schemas.microsoft.com/office/drawing/2014/main" id="{2AACBFF5-6041-8CC2-43F5-CAC0352AD21A}"/>
              </a:ext>
            </a:extLst>
          </p:cNvPr>
          <p:cNvSpPr txBox="1">
            <a:spLocks/>
          </p:cNvSpPr>
          <p:nvPr/>
        </p:nvSpPr>
        <p:spPr>
          <a:xfrm>
            <a:off x="5328444" y="4644176"/>
            <a:ext cx="8316912" cy="306684"/>
          </a:xfrm>
          <a:prstGeom prst="rect">
            <a:avLst/>
          </a:prstGeom>
        </p:spPr>
        <p:txBody>
          <a:bodyPr lIns="0">
            <a:noAutofit/>
          </a:bodyPr>
          <a:lstStyle>
            <a:lvl1pPr marL="161988" marR="0" indent="-161988" algn="l" defTabSz="685749" rtl="0" eaLnBrk="1" fontAlgn="auto" latinLnBrk="0" hangingPunct="1">
              <a:lnSpc>
                <a:spcPct val="100000"/>
              </a:lnSpc>
              <a:spcBef>
                <a:spcPts val="165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SzPct val="100000"/>
              <a:buFont typeface="Calibri" panose="020F0502020204030204" pitchFamily="34" charset="0"/>
              <a:buNone/>
              <a:tabLst/>
              <a:defRPr lang="en-US" sz="1800" kern="1200" baseline="0" dirty="0" smtClean="0">
                <a:solidFill>
                  <a:srgbClr val="003C7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04970" indent="-134991" algn="l" defTabSz="685749" rtl="0" eaLnBrk="1" latinLnBrk="0" hangingPunct="1">
              <a:spcBef>
                <a:spcPts val="375"/>
              </a:spcBef>
              <a:buClr>
                <a:schemeClr val="bg1">
                  <a:lumMod val="65000"/>
                </a:schemeClr>
              </a:buClr>
              <a:buSzPct val="100000"/>
              <a:buFont typeface="Segoe UI" panose="020B0502040204020203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66958" indent="-134991" algn="l" defTabSz="685749" rtl="0" eaLnBrk="1" latinLnBrk="0" hangingPunct="1">
              <a:spcBef>
                <a:spcPts val="375"/>
              </a:spcBef>
              <a:buClr>
                <a:schemeClr val="bg1">
                  <a:lumMod val="75000"/>
                </a:schemeClr>
              </a:buClr>
              <a:buFont typeface="Segoe UI" panose="020B0502040204020203" pitchFamily="34" charset="0"/>
              <a:buChar char="-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60" indent="-171438" algn="l" defTabSz="68574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∙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35" indent="-171438" algn="l" defTabSz="68574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▫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09" indent="-171438" algn="l" defTabSz="68574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684" indent="-171438" algn="l" defTabSz="68574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558" indent="-171438" algn="l" defTabSz="68574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433" indent="-171438" algn="l" defTabSz="68574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100" dirty="0">
                <a:solidFill>
                  <a:srgbClr val="F4821F"/>
                </a:solidFill>
              </a:rPr>
              <a:t>Task 13 </a:t>
            </a:r>
            <a:r>
              <a:rPr lang="de-DE" sz="1100" dirty="0" err="1">
                <a:solidFill>
                  <a:schemeClr val="bg1"/>
                </a:solidFill>
              </a:rPr>
              <a:t>Reliability</a:t>
            </a:r>
            <a:r>
              <a:rPr lang="de-DE" sz="1100" dirty="0">
                <a:solidFill>
                  <a:schemeClr val="bg1"/>
                </a:solidFill>
              </a:rPr>
              <a:t> and Performance </a:t>
            </a:r>
            <a:r>
              <a:rPr lang="de-DE" sz="1100" dirty="0" err="1">
                <a:solidFill>
                  <a:schemeClr val="bg1"/>
                </a:solidFill>
              </a:rPr>
              <a:t>of</a:t>
            </a:r>
            <a:r>
              <a:rPr lang="de-DE" sz="1100" dirty="0">
                <a:solidFill>
                  <a:schemeClr val="bg1"/>
                </a:solidFill>
              </a:rPr>
              <a:t> PV Systems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F0040D70-AF24-4BBA-ED5D-57AE9356DDE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0" y="236166"/>
            <a:ext cx="3937315" cy="26710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443498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DD32B899-DB09-408E-96A9-DE801C5D91E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50828" y="218815"/>
            <a:ext cx="7957990" cy="434767"/>
          </a:xfrm>
        </p:spPr>
        <p:txBody>
          <a:bodyPr/>
          <a:lstStyle/>
          <a:p>
            <a:r>
              <a:rPr lang="en-US" sz="2000" dirty="0"/>
              <a:t>Performance and Reliability Aspects of Second Life Photovoltaic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D5C43002-AC8D-4A36-9EC7-81561657811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7634" y="1242193"/>
            <a:ext cx="6105526" cy="3682492"/>
          </a:xfrm>
        </p:spPr>
        <p:txBody>
          <a:bodyPr lIns="0" tIns="45720" rIns="91440" bIns="45720" anchor="t"/>
          <a:lstStyle/>
          <a:p>
            <a:pPr marL="135890" indent="0">
              <a:buNone/>
            </a:pPr>
            <a:r>
              <a:rPr lang="en-US" sz="1500" b="1" dirty="0">
                <a:latin typeface="Arial"/>
                <a:cs typeface="Arial"/>
              </a:rPr>
              <a:t>Status of the Second Life PV Market</a:t>
            </a:r>
          </a:p>
          <a:p>
            <a:pPr marL="269875" indent="-133985"/>
            <a:r>
              <a:rPr lang="en-US" sz="1500" dirty="0">
                <a:latin typeface="Arial"/>
                <a:cs typeface="Arial"/>
              </a:rPr>
              <a:t>The lack of harmonized qualification criteria, standardized testing protocols, and repair guidelines significantly limits transparency, comparability, and overall confidence in reused products.</a:t>
            </a:r>
          </a:p>
          <a:p>
            <a:pPr marL="269875" indent="-133985"/>
            <a:r>
              <a:rPr lang="en-US" sz="1500" dirty="0">
                <a:latin typeface="Arial"/>
                <a:cs typeface="Arial"/>
              </a:rPr>
              <a:t>Without clear technical standards, second-life PV modules face barriers to large-scale adoption, insurance/warranty coverage, and bankability.</a:t>
            </a:r>
          </a:p>
          <a:p>
            <a:pPr marL="269875" indent="-133985"/>
            <a:r>
              <a:rPr lang="en-US" sz="1500" dirty="0">
                <a:latin typeface="Arial"/>
                <a:cs typeface="Arial"/>
              </a:rPr>
              <a:t>Alignment with international frameworks (e.g., IEC standards) and the development of robust pass/fail criteria are essential to ensure safety, reliability, and traceability. </a:t>
            </a:r>
            <a:endParaRPr lang="en-US" dirty="0">
              <a:solidFill>
                <a:srgbClr val="FF0000"/>
              </a:solidFill>
              <a:latin typeface="Arial"/>
              <a:cs typeface="Arial"/>
            </a:endParaRPr>
          </a:p>
          <a:p>
            <a:pPr marL="269875" indent="-133985"/>
            <a:endParaRPr lang="en-US" dirty="0"/>
          </a:p>
          <a:p>
            <a:pPr marL="269875" indent="-133985"/>
            <a:endParaRPr lang="en-US" dirty="0"/>
          </a:p>
          <a:p>
            <a:pPr marL="269875" indent="-133985"/>
            <a:endParaRPr lang="en-US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7E8DAB85-7DE6-846F-9707-BD7EB91FCED9}"/>
              </a:ext>
            </a:extLst>
          </p:cNvPr>
          <p:cNvSpPr txBox="1"/>
          <p:nvPr/>
        </p:nvSpPr>
        <p:spPr>
          <a:xfrm>
            <a:off x="6370821" y="4415089"/>
            <a:ext cx="273773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>
                <a:latin typeface="Arial"/>
                <a:cs typeface="Arial"/>
              </a:rPr>
              <a:t>Report IEA-PVPS T13-37:2026</a:t>
            </a:r>
            <a:endParaRPr lang="de-DE" sz="1400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8700B771-B1F3-1189-E41C-1BD2A974B0E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89526" y="1198417"/>
            <a:ext cx="2236840" cy="31519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318215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DD32B899-DB09-408E-96A9-DE801C5D91E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50828" y="215249"/>
            <a:ext cx="7944136" cy="438334"/>
          </a:xfrm>
        </p:spPr>
        <p:txBody>
          <a:bodyPr/>
          <a:lstStyle/>
          <a:p>
            <a:r>
              <a:rPr lang="en-US" sz="2000" dirty="0"/>
              <a:t>Performance and Reliability Aspects of Second Life Photovoltaic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D5C43002-AC8D-4A36-9EC7-81561657811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49941" y="1219200"/>
            <a:ext cx="4790095" cy="3709052"/>
          </a:xfrm>
        </p:spPr>
        <p:txBody>
          <a:bodyPr lIns="0" tIns="45720" rIns="91440" bIns="45720" anchor="t"/>
          <a:lstStyle/>
          <a:p>
            <a:pPr marL="135890" indent="0">
              <a:buNone/>
            </a:pPr>
            <a:r>
              <a:rPr lang="en-GB" sz="1500" b="1" noProof="0" dirty="0">
                <a:latin typeface="Arial"/>
                <a:cs typeface="Arial"/>
              </a:rPr>
              <a:t>Repair Feasibility and Limitations</a:t>
            </a:r>
          </a:p>
          <a:p>
            <a:pPr marL="269875" indent="-133985"/>
            <a:r>
              <a:rPr lang="en-GB" sz="1500" noProof="0" dirty="0">
                <a:latin typeface="Arial"/>
                <a:cs typeface="Arial"/>
              </a:rPr>
              <a:t>Repair of PV modules - whether addressing solder bond failures, cracked </a:t>
            </a:r>
            <a:r>
              <a:rPr lang="en-GB" sz="1500" noProof="0" dirty="0" err="1">
                <a:latin typeface="Arial"/>
                <a:cs typeface="Arial"/>
              </a:rPr>
              <a:t>backsheets</a:t>
            </a:r>
            <a:r>
              <a:rPr lang="en-GB" sz="1500" noProof="0" dirty="0">
                <a:latin typeface="Arial"/>
                <a:cs typeface="Arial"/>
              </a:rPr>
              <a:t>, or junction box issues - has been demonstrated as technically feasible.</a:t>
            </a:r>
          </a:p>
          <a:p>
            <a:pPr marL="269875" indent="-133985"/>
            <a:r>
              <a:rPr lang="en-GB" sz="1500" noProof="0" dirty="0">
                <a:latin typeface="Arial"/>
                <a:cs typeface="Arial"/>
              </a:rPr>
              <a:t>However, field experience shows that repair is often labour intensive, costly, and difficult to scale without automation.</a:t>
            </a:r>
          </a:p>
          <a:p>
            <a:pPr marL="269875" indent="-133985"/>
            <a:r>
              <a:rPr lang="en-GB" sz="1500" noProof="0" dirty="0">
                <a:latin typeface="Arial"/>
                <a:cs typeface="Arial"/>
              </a:rPr>
              <a:t>Thus, repair is best reserved for specific contexts such as remote areas or where logistics make replacement prohibitive. </a:t>
            </a:r>
          </a:p>
          <a:p>
            <a:pPr marL="269875" indent="-133985"/>
            <a:r>
              <a:rPr lang="en-GB" sz="1500" noProof="0" dirty="0">
                <a:latin typeface="Arial"/>
                <a:cs typeface="Arial"/>
              </a:rPr>
              <a:t>For the broader market, testing- and sorting-based reuse strategies are generally more cost-effective</a:t>
            </a:r>
            <a:r>
              <a:rPr lang="en-GB" sz="1500" dirty="0">
                <a:latin typeface="Arial"/>
                <a:cs typeface="Arial"/>
              </a:rPr>
              <a:t> and scalable</a:t>
            </a:r>
            <a:r>
              <a:rPr lang="en-GB" sz="1500" noProof="0" dirty="0">
                <a:latin typeface="Arial"/>
                <a:cs typeface="Arial"/>
              </a:rPr>
              <a:t>.</a:t>
            </a:r>
          </a:p>
          <a:p>
            <a:pPr marL="269875" indent="-133985"/>
            <a:endParaRPr lang="en-GB" noProof="0" dirty="0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67D7545D-6CB9-E52F-4FD2-5C2F85C92FBE}"/>
              </a:ext>
            </a:extLst>
          </p:cNvPr>
          <p:cNvSpPr txBox="1"/>
          <p:nvPr/>
        </p:nvSpPr>
        <p:spPr>
          <a:xfrm>
            <a:off x="5171387" y="4400789"/>
            <a:ext cx="3861777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i="1" kern="1200" dirty="0">
                <a:solidFill>
                  <a:srgbClr val="003C7D"/>
                </a:solidFill>
                <a:latin typeface="Arial"/>
                <a:cs typeface="Arial"/>
              </a:rPr>
              <a:t>Repair scenarios for 2</a:t>
            </a:r>
            <a:r>
              <a:rPr lang="en-US" sz="1400" i="1" kern="1200" baseline="30000" dirty="0">
                <a:solidFill>
                  <a:srgbClr val="003C7D"/>
                </a:solidFill>
                <a:latin typeface="Arial"/>
                <a:cs typeface="Arial"/>
              </a:rPr>
              <a:t>nd</a:t>
            </a:r>
            <a:r>
              <a:rPr lang="en-US" sz="1400" i="1" kern="1200" dirty="0">
                <a:solidFill>
                  <a:srgbClr val="003C7D"/>
                </a:solidFill>
                <a:latin typeface="Arial"/>
                <a:cs typeface="Arial"/>
              </a:rPr>
              <a:t> life PV modules with </a:t>
            </a:r>
            <a:r>
              <a:rPr lang="en-US" sz="1400" i="1" kern="1200" dirty="0" err="1">
                <a:solidFill>
                  <a:srgbClr val="003C7D"/>
                </a:solidFill>
                <a:latin typeface="Arial"/>
                <a:cs typeface="Arial"/>
              </a:rPr>
              <a:t>backsheet</a:t>
            </a:r>
            <a:r>
              <a:rPr lang="en-US" sz="1400" i="1" kern="1200" dirty="0">
                <a:solidFill>
                  <a:srgbClr val="003C7D"/>
                </a:solidFill>
                <a:latin typeface="Arial"/>
                <a:cs typeface="Arial"/>
              </a:rPr>
              <a:t> issues</a:t>
            </a:r>
            <a:endParaRPr lang="de-DE" sz="1400" i="1" kern="1200" dirty="0">
              <a:solidFill>
                <a:srgbClr val="003C7D"/>
              </a:solidFill>
              <a:latin typeface="Arial"/>
              <a:cs typeface="Arial"/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FC2B3BED-9759-7A39-5AA1-89FC6F0CD86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75" r="8343"/>
          <a:stretch/>
        </p:blipFill>
        <p:spPr bwMode="auto">
          <a:xfrm>
            <a:off x="5140036" y="1547203"/>
            <a:ext cx="3983381" cy="2824942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83303690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DD32B899-DB09-408E-96A9-DE801C5D91E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50828" y="203461"/>
            <a:ext cx="8048045" cy="450122"/>
          </a:xfrm>
        </p:spPr>
        <p:txBody>
          <a:bodyPr/>
          <a:lstStyle/>
          <a:p>
            <a:r>
              <a:rPr lang="en-US" sz="2000" dirty="0"/>
              <a:t>Performance and Reliability Aspects of Second Life Photovoltaic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D5C43002-AC8D-4A36-9EC7-81561657811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93544" y="1251697"/>
            <a:ext cx="5005820" cy="1553847"/>
          </a:xfrm>
        </p:spPr>
        <p:txBody>
          <a:bodyPr lIns="0" tIns="45720" rIns="91440" bIns="45720" anchor="t"/>
          <a:lstStyle/>
          <a:p>
            <a:pPr marL="135890" indent="0">
              <a:buNone/>
            </a:pPr>
            <a:r>
              <a:rPr lang="en-US" sz="1500" b="1" dirty="0">
                <a:latin typeface="Arial"/>
                <a:cs typeface="Arial"/>
              </a:rPr>
              <a:t>Testing and Automated Triage as Enablers</a:t>
            </a:r>
          </a:p>
          <a:p>
            <a:pPr marL="269875" indent="-133985"/>
            <a:r>
              <a:rPr lang="en-US" sz="1500" dirty="0">
                <a:latin typeface="Arial"/>
                <a:cs typeface="Arial"/>
              </a:rPr>
              <a:t>Automated testing systems capable of IV characterization, electroluminescence imaging, and insulation resistance testing provide a scalable path            for reliable large-volume triage. </a:t>
            </a:r>
          </a:p>
          <a:p>
            <a:pPr marL="269875" indent="-133985"/>
            <a:r>
              <a:rPr lang="en-GB" sz="1500" dirty="0">
                <a:latin typeface="Arial"/>
                <a:cs typeface="Arial"/>
              </a:rPr>
              <a:t>This approach allows efficient classification into “reuse,” “repair,” or “recycle” streams, minimizing labour costs and ensuring greater consistency. </a:t>
            </a:r>
          </a:p>
          <a:p>
            <a:pPr marL="269875" indent="-133985"/>
            <a:r>
              <a:rPr lang="en-GB" sz="1500" dirty="0">
                <a:latin typeface="Arial"/>
                <a:cs typeface="Arial"/>
              </a:rPr>
              <a:t>Advances in aerial inspection, AI-based diagnostics, and mobile test labs can further reduce costs and risks, while increasing throughput.  </a:t>
            </a:r>
          </a:p>
          <a:p>
            <a:pPr marL="269875" indent="-133985"/>
            <a:r>
              <a:rPr lang="en-GB" sz="1500" dirty="0">
                <a:latin typeface="Arial"/>
                <a:cs typeface="Arial"/>
              </a:rPr>
              <a:t>The creation of centralized or semi-automated reuse hubs is a promising strategy to strengthen the economic viability and traceability of second-life PV.</a:t>
            </a:r>
            <a:endParaRPr lang="de-DE" sz="1500" dirty="0">
              <a:latin typeface="Arial"/>
              <a:cs typeface="Arial"/>
            </a:endParaRPr>
          </a:p>
          <a:p>
            <a:pPr marL="269875" indent="-133985"/>
            <a:endParaRPr lang="en-US" sz="1500" dirty="0">
              <a:latin typeface="Arial"/>
              <a:cs typeface="Arial"/>
            </a:endParaRPr>
          </a:p>
          <a:p>
            <a:pPr marL="269875" indent="-133985"/>
            <a:endParaRPr lang="en-US" dirty="0">
              <a:solidFill>
                <a:srgbClr val="FF0000"/>
              </a:solidFill>
              <a:latin typeface="Arial"/>
              <a:cs typeface="Arial"/>
            </a:endParaRPr>
          </a:p>
          <a:p>
            <a:pPr marL="269875" indent="-133985"/>
            <a:endParaRPr lang="en-US" dirty="0"/>
          </a:p>
          <a:p>
            <a:pPr marL="269875" indent="-133985"/>
            <a:endParaRPr lang="en-US" dirty="0"/>
          </a:p>
          <a:p>
            <a:pPr marL="269875" indent="-133985"/>
            <a:endParaRPr lang="en-US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5C96EFDF-A767-6EBD-D5ED-BC21992BE2E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24969" y="1677636"/>
            <a:ext cx="3870960" cy="2176145"/>
          </a:xfrm>
          <a:prstGeom prst="rect">
            <a:avLst/>
          </a:prstGeom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0F5140E5-92B2-80C9-B690-27C550258947}"/>
              </a:ext>
            </a:extLst>
          </p:cNvPr>
          <p:cNvSpPr txBox="1"/>
          <p:nvPr/>
        </p:nvSpPr>
        <p:spPr>
          <a:xfrm>
            <a:off x="5134152" y="3883566"/>
            <a:ext cx="3861777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i="1" kern="1200" dirty="0">
                <a:solidFill>
                  <a:srgbClr val="003C7D"/>
                </a:solidFill>
                <a:latin typeface="Arial"/>
                <a:cs typeface="Arial"/>
              </a:rPr>
              <a:t>Classification matrix for PV module triage and eligibility for repair/reuse [1]</a:t>
            </a:r>
            <a:endParaRPr lang="de-DE" sz="1400" i="1" kern="1200" dirty="0">
              <a:solidFill>
                <a:srgbClr val="003C7D"/>
              </a:solidFill>
              <a:latin typeface="Arial"/>
              <a:cs typeface="Arial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CAD608BF-6E34-6F8C-21E7-31F36B33A006}"/>
              </a:ext>
            </a:extLst>
          </p:cNvPr>
          <p:cNvSpPr txBox="1"/>
          <p:nvPr/>
        </p:nvSpPr>
        <p:spPr>
          <a:xfrm>
            <a:off x="5161860" y="4668982"/>
            <a:ext cx="3940575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indent="-215900"/>
            <a:r>
              <a:rPr lang="en-US" sz="600" dirty="0">
                <a:solidFill>
                  <a:srgbClr val="222222"/>
                </a:solidFill>
                <a:latin typeface="Arial"/>
                <a:cs typeface="Arial"/>
              </a:rPr>
              <a:t>Source [1]: Tsanakas et al. (2024):</a:t>
            </a:r>
            <a:r>
              <a:rPr lang="en-IE" sz="600" dirty="0">
                <a:solidFill>
                  <a:srgbClr val="222222"/>
                </a:solidFill>
                <a:latin typeface="Arial"/>
                <a:cs typeface="Arial"/>
              </a:rPr>
              <a:t> Tsanakas IA, Oreski G, Eder G, Gassner A, van der Heide A, </a:t>
            </a:r>
            <a:r>
              <a:rPr lang="en-IE" sz="600" dirty="0" err="1">
                <a:solidFill>
                  <a:srgbClr val="222222"/>
                </a:solidFill>
                <a:latin typeface="Arial"/>
                <a:cs typeface="Arial"/>
              </a:rPr>
              <a:t>Ariolli</a:t>
            </a:r>
            <a:r>
              <a:rPr lang="en-IE" sz="600" dirty="0">
                <a:solidFill>
                  <a:srgbClr val="222222"/>
                </a:solidFill>
                <a:latin typeface="Arial"/>
                <a:cs typeface="Arial"/>
              </a:rPr>
              <a:t> DMG, Hernandez GO, Moser D, Wambach K. Toward Reuse‐Ready PV: A Perspective on Recent Advances, Practices, and Future Challenges. Adv. Energy Sustainability Res. 2024, DOI: 10.1002/aesr.202400237.</a:t>
            </a:r>
            <a:endParaRPr lang="de-DE" dirty="0">
              <a:cs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278778807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1">
            <a:extLst>
              <a:ext uri="{FF2B5EF4-FFF2-40B4-BE49-F238E27FC236}">
                <a16:creationId xmlns:a16="http://schemas.microsoft.com/office/drawing/2014/main" id="{25131646-0AD5-4257-5FEC-2EF0F4698294}"/>
              </a:ext>
            </a:extLst>
          </p:cNvPr>
          <p:cNvSpPr txBox="1">
            <a:spLocks/>
          </p:cNvSpPr>
          <p:nvPr/>
        </p:nvSpPr>
        <p:spPr>
          <a:xfrm>
            <a:off x="250828" y="248490"/>
            <a:ext cx="8075754" cy="405092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 algn="l" defTabSz="685749" rtl="0" eaLnBrk="1" latinLnBrk="0" hangingPunct="1">
              <a:spcBef>
                <a:spcPts val="1650"/>
              </a:spcBef>
              <a:buClr>
                <a:schemeClr val="bg1">
                  <a:lumMod val="65000"/>
                </a:schemeClr>
              </a:buClr>
              <a:buSzPct val="100000"/>
              <a:buFont typeface="Calibri" panose="020F0502020204030204" pitchFamily="34" charset="0"/>
              <a:buNone/>
              <a:defRPr lang="en-US" sz="2400" b="1" kern="1200" baseline="0" dirty="0">
                <a:solidFill>
                  <a:srgbClr val="F4821F"/>
                </a:solidFill>
                <a:uFill>
                  <a:solidFill>
                    <a:schemeClr val="tx2"/>
                  </a:solidFill>
                </a:u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marL="404970" indent="-134991" algn="l" defTabSz="685749" rtl="0" eaLnBrk="1" latinLnBrk="0" hangingPunct="1">
              <a:spcBef>
                <a:spcPts val="375"/>
              </a:spcBef>
              <a:buClr>
                <a:schemeClr val="bg1">
                  <a:lumMod val="65000"/>
                </a:schemeClr>
              </a:buClr>
              <a:buSzPct val="100000"/>
              <a:buFont typeface="Segoe UI" panose="020B0502040204020203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66958" indent="-134991" algn="l" defTabSz="685749" rtl="0" eaLnBrk="1" latinLnBrk="0" hangingPunct="1">
              <a:spcBef>
                <a:spcPts val="375"/>
              </a:spcBef>
              <a:buClr>
                <a:schemeClr val="bg1">
                  <a:lumMod val="75000"/>
                </a:schemeClr>
              </a:buClr>
              <a:buFont typeface="Segoe UI" panose="020B0502040204020203" pitchFamily="34" charset="0"/>
              <a:buChar char="-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60" indent="-171438" algn="l" defTabSz="68574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∙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35" indent="-171438" algn="l" defTabSz="68574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▫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09" indent="-171438" algn="l" defTabSz="68574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684" indent="-171438" algn="l" defTabSz="68574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558" indent="-171438" algn="l" defTabSz="68574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433" indent="-171438" algn="l" defTabSz="68574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/>
              <a:t>Performance and Reliability Aspects of Second Life Photovoltaic</a:t>
            </a:r>
          </a:p>
        </p:txBody>
      </p:sp>
      <p:sp>
        <p:nvSpPr>
          <p:cNvPr id="17" name="Espace réservé du texte 2">
            <a:extLst>
              <a:ext uri="{FF2B5EF4-FFF2-40B4-BE49-F238E27FC236}">
                <a16:creationId xmlns:a16="http://schemas.microsoft.com/office/drawing/2014/main" id="{14933CA7-0570-0B4F-7612-A4CE3C6F4D2E}"/>
              </a:ext>
            </a:extLst>
          </p:cNvPr>
          <p:cNvSpPr txBox="1">
            <a:spLocks/>
          </p:cNvSpPr>
          <p:nvPr/>
        </p:nvSpPr>
        <p:spPr>
          <a:xfrm>
            <a:off x="278890" y="1181855"/>
            <a:ext cx="8638998" cy="3713155"/>
          </a:xfrm>
          <a:prstGeom prst="rect">
            <a:avLst/>
          </a:prstGeom>
        </p:spPr>
        <p:txBody>
          <a:bodyPr lIns="0" tIns="45720" rIns="91440" bIns="45720" anchor="t"/>
          <a:lstStyle>
            <a:lvl1pPr marL="269981" indent="-134532" algn="l" defTabSz="685749" rtl="0" eaLnBrk="1" latinLnBrk="0" hangingPunct="1">
              <a:spcBef>
                <a:spcPts val="600"/>
              </a:spcBef>
              <a:spcAft>
                <a:spcPts val="600"/>
              </a:spcAft>
              <a:buClr>
                <a:srgbClr val="003C7D"/>
              </a:buClr>
              <a:buSzPct val="100000"/>
              <a:buFont typeface="Arial" panose="020B0604020202020204" pitchFamily="34" charset="0"/>
              <a:buChar char="•"/>
              <a:defRPr sz="1800" kern="1200" baseline="0">
                <a:solidFill>
                  <a:srgbClr val="003C7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04970" indent="-134991" algn="l" defTabSz="685749" rtl="0" eaLnBrk="1" latinLnBrk="0" hangingPunct="1">
              <a:spcBef>
                <a:spcPts val="600"/>
              </a:spcBef>
              <a:spcAft>
                <a:spcPts val="600"/>
              </a:spcAft>
              <a:buClr>
                <a:srgbClr val="003C7D"/>
              </a:buClr>
              <a:buSzPct val="100000"/>
              <a:buFont typeface="Arial" panose="020B0604020202020204" pitchFamily="34" charset="0"/>
              <a:buChar char="•"/>
              <a:defRPr sz="1700" kern="1200">
                <a:solidFill>
                  <a:srgbClr val="003C7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9314" indent="-134532" algn="l" defTabSz="685749" rtl="0" eaLnBrk="1" latinLnBrk="0" hangingPunct="1">
              <a:spcBef>
                <a:spcPts val="300"/>
              </a:spcBef>
              <a:spcAft>
                <a:spcPts val="300"/>
              </a:spcAft>
              <a:buClr>
                <a:srgbClr val="003C7D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3C7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75034" indent="-135722" algn="l" defTabSz="685749" rtl="0" eaLnBrk="1" latinLnBrk="0" hangingPunct="1">
              <a:spcBef>
                <a:spcPts val="300"/>
              </a:spcBef>
              <a:spcAft>
                <a:spcPts val="300"/>
              </a:spcAft>
              <a:buClr>
                <a:srgbClr val="003C7D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3C7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09940" indent="-134991" algn="l" defTabSz="685749" rtl="0" eaLnBrk="1" latinLnBrk="0" hangingPunct="1">
              <a:spcBef>
                <a:spcPts val="300"/>
              </a:spcBef>
              <a:spcAft>
                <a:spcPts val="300"/>
              </a:spcAft>
              <a:buClr>
                <a:srgbClr val="003C7D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3C7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809" indent="-171438" algn="l" defTabSz="68574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684" indent="-171438" algn="l" defTabSz="68574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558" indent="-171438" algn="l" defTabSz="68574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433" indent="-171438" algn="l" defTabSz="68574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35890" indent="0">
              <a:buNone/>
            </a:pPr>
            <a:r>
              <a:rPr lang="en-US" sz="1500" b="1" dirty="0">
                <a:latin typeface="Arial"/>
                <a:cs typeface="Arial"/>
              </a:rPr>
              <a:t>Field Experience and Demonstration Projects</a:t>
            </a:r>
          </a:p>
          <a:p>
            <a:pPr marL="269875" indent="-133985"/>
            <a:r>
              <a:rPr lang="en-GB" sz="1500" dirty="0">
                <a:latin typeface="Arial"/>
                <a:cs typeface="Arial"/>
              </a:rPr>
              <a:t>Pilot projects confirm that second-life PV and battery systems can deliver tangible benefits in energy autonomy, emissions reduction, and protection against electricity price volatility.</a:t>
            </a:r>
          </a:p>
          <a:p>
            <a:pPr marL="269875" indent="-133985"/>
            <a:r>
              <a:rPr lang="en-GB" sz="1500" dirty="0">
                <a:latin typeface="Arial"/>
                <a:cs typeface="Arial"/>
              </a:rPr>
              <a:t>However, they also underline persistent challenges: technical compatibility issues arising from heterogeneous module batches, evolving grid compliance requirements, and the limited economic advantage of second-life batteries compared to new ones. </a:t>
            </a:r>
          </a:p>
          <a:p>
            <a:pPr marL="269875" indent="-133985"/>
            <a:r>
              <a:rPr lang="en-GB" sz="1500" dirty="0">
                <a:latin typeface="Arial"/>
                <a:cs typeface="Arial"/>
              </a:rPr>
              <a:t>Harmonized standards and clearer qualification frameworks remain key to scaling the second-life PV market.</a:t>
            </a:r>
          </a:p>
          <a:p>
            <a:pPr marL="269875" indent="-133985"/>
            <a:r>
              <a:rPr lang="en-GB" sz="1500" dirty="0">
                <a:latin typeface="Arial"/>
                <a:cs typeface="Arial"/>
              </a:rPr>
              <a:t>These experiences highlight the need for robust </a:t>
            </a:r>
            <a:br>
              <a:rPr lang="en-GB" sz="1500" dirty="0">
                <a:latin typeface="Arial"/>
                <a:cs typeface="Arial"/>
              </a:rPr>
            </a:br>
            <a:r>
              <a:rPr lang="en-GB" sz="1500" dirty="0">
                <a:latin typeface="Arial"/>
                <a:cs typeface="Arial"/>
              </a:rPr>
              <a:t>system integration guidelines and regulatory flexibility</a:t>
            </a:r>
            <a:br>
              <a:rPr lang="en-GB" sz="1500" dirty="0">
                <a:latin typeface="Arial"/>
                <a:cs typeface="Arial"/>
              </a:rPr>
            </a:br>
            <a:r>
              <a:rPr lang="en-GB" sz="1500" dirty="0">
                <a:latin typeface="Arial"/>
                <a:cs typeface="Arial"/>
              </a:rPr>
              <a:t>to unlock wider adoption.</a:t>
            </a:r>
          </a:p>
          <a:p>
            <a:pPr marL="269875" indent="-133985"/>
            <a:r>
              <a:rPr lang="en-US" sz="1600" dirty="0"/>
              <a:t>Challenges in establishing a viable business </a:t>
            </a:r>
            <a:br>
              <a:rPr lang="en-US" sz="1600" dirty="0"/>
            </a:br>
            <a:r>
              <a:rPr lang="en-US" sz="1600" dirty="0"/>
              <a:t>model remain.</a:t>
            </a:r>
            <a:endParaRPr lang="en-US" dirty="0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DD06F880-5586-0665-38C1-8D0B6A0C2F0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12105" y="3376584"/>
            <a:ext cx="3805783" cy="1682614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B985A3B5-5720-648A-E8D4-5D124D385DC6}"/>
              </a:ext>
            </a:extLst>
          </p:cNvPr>
          <p:cNvSpPr txBox="1"/>
          <p:nvPr/>
        </p:nvSpPr>
        <p:spPr>
          <a:xfrm>
            <a:off x="3063633" y="4746164"/>
            <a:ext cx="244911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sz="1000" i="1" kern="1200" dirty="0">
                <a:solidFill>
                  <a:srgbClr val="003C7D"/>
                </a:solidFill>
                <a:latin typeface="Arial"/>
                <a:cs typeface="Arial"/>
              </a:rPr>
              <a:t>Business approach of 2nd Cycle: </a:t>
            </a:r>
            <a:r>
              <a:rPr lang="en-GB" sz="1000" i="1" kern="1200" dirty="0">
                <a:solidFill>
                  <a:srgbClr val="003C7D"/>
                </a:solidFill>
                <a:latin typeface="Arial"/>
                <a:cs typeface="Arial"/>
              </a:rPr>
              <a:t>(</a:t>
            </a:r>
            <a:r>
              <a:rPr lang="en-GB" sz="1000" i="1" kern="1200" dirty="0">
                <a:solidFill>
                  <a:srgbClr val="003C7D"/>
                </a:solidFill>
                <a:latin typeface="Arial"/>
                <a:cs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2ndcycle.at/en</a:t>
            </a:r>
            <a:r>
              <a:rPr lang="en-GB" sz="1000" i="1" kern="1200" dirty="0">
                <a:solidFill>
                  <a:srgbClr val="003C7D"/>
                </a:solidFill>
                <a:latin typeface="Arial"/>
                <a:cs typeface="Arial"/>
              </a:rPr>
              <a:t>)</a:t>
            </a:r>
            <a:endParaRPr lang="de-DE" sz="1000" i="1" kern="1200" dirty="0">
              <a:solidFill>
                <a:srgbClr val="003C7D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207615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B - New branding v5 (2)">
  <a:themeElements>
    <a:clrScheme name="Custom 1">
      <a:dk1>
        <a:srgbClr val="F4821F"/>
      </a:dk1>
      <a:lt1>
        <a:sysClr val="window" lastClr="FFFFFF"/>
      </a:lt1>
      <a:dk2>
        <a:srgbClr val="10307D"/>
      </a:dk2>
      <a:lt2>
        <a:srgbClr val="FFFFFF"/>
      </a:lt2>
      <a:accent1>
        <a:srgbClr val="10307D"/>
      </a:accent1>
      <a:accent2>
        <a:srgbClr val="10307D"/>
      </a:accent2>
      <a:accent3>
        <a:srgbClr val="F4821F"/>
      </a:accent3>
      <a:accent4>
        <a:srgbClr val="F4821F"/>
      </a:accent4>
      <a:accent5>
        <a:srgbClr val="10307D"/>
      </a:accent5>
      <a:accent6>
        <a:srgbClr val="10307D"/>
      </a:accent6>
      <a:hlink>
        <a:srgbClr val="F4821F"/>
      </a:hlink>
      <a:folHlink>
        <a:srgbClr val="F4821F"/>
      </a:folHlink>
    </a:clrScheme>
    <a:fontScheme name="IEA template">
      <a:majorFont>
        <a:latin typeface="Century Gothic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>
            <a:lumMod val="95000"/>
          </a:schemeClr>
        </a:solidFill>
        <a:ln>
          <a:noFill/>
        </a:ln>
      </a:spPr>
      <a:bodyPr rtlCol="0" anchor="ctr"/>
      <a:lstStyle>
        <a:defPPr algn="ctr">
          <a:defRPr sz="1200">
            <a:latin typeface="Segoe UI" panose="020B0502040204020203" pitchFamily="34" charset="0"/>
            <a:cs typeface="Segoe UI" panose="020B0502040204020203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esentation14" id="{F39241C8-7B32-6A43-B0A8-3CE245A73584}" vid="{7F805EB4-DE15-E642-859E-CC7D6EBEE15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Arial"/>
        <a:cs typeface="Arial"/>
      </a:majorFont>
      <a:minorFont>
        <a:latin typeface="Calibri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gradFill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/>
        </a:gradFill>
        <a:gradFill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/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19D5CB6F85F73647953D1642A5D820CC" ma:contentTypeVersion="12" ma:contentTypeDescription="Ein neues Dokument erstellen." ma:contentTypeScope="" ma:versionID="3480266de21edfbe28ff6b86b4c9731c">
  <xsd:schema xmlns:xsd="http://www.w3.org/2001/XMLSchema" xmlns:xs="http://www.w3.org/2001/XMLSchema" xmlns:p="http://schemas.microsoft.com/office/2006/metadata/properties" xmlns:ns2="983a6927-6998-4ff6-93f9-472b5ddef582" targetNamespace="http://schemas.microsoft.com/office/2006/metadata/properties" ma:root="true" ma:fieldsID="4fc536d3adb97cccae0900cb95430ee5" ns2:_="">
    <xsd:import namespace="983a6927-6998-4ff6-93f9-472b5ddef58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lcf76f155ced4ddcb4097134ff3c332f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Locatio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83a6927-6998-4ff6-93f9-472b5ddef58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Bildmarkierungen" ma:readOnly="false" ma:fieldId="{5cf76f15-5ced-4ddc-b409-7134ff3c332f}" ma:taxonomyMulti="true" ma:sspId="6eb20c4f-c5c2-492b-9954-d638c64bfe9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4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8" nillable="true" ma:displayName="Location" ma:indexed="true" ma:internalName="MediaServiceLocation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983a6927-6998-4ff6-93f9-472b5ddef582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C136BBDB-1F39-44C6-92A3-4262E384773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410E770-04D3-4088-B63E-05653C7051A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83a6927-6998-4ff6-93f9-472b5ddef58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6A0DE528-7FB1-4B05-953B-E13A6D0A661A}">
  <ds:schemaRefs>
    <ds:schemaRef ds:uri="8a95e9d8-7e96-4a26-bb09-e8e0ff8b7a08"/>
    <ds:schemaRef ds:uri="983a6927-6998-4ff6-93f9-472b5ddef582"/>
    <ds:schemaRef ds:uri="bb3c1d79-18c6-4632-a437-906b397dca21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578</Words>
  <Application>Microsoft Office PowerPoint</Application>
  <PresentationFormat>Bildschirmpräsentation (16:9)</PresentationFormat>
  <Paragraphs>37</Paragraphs>
  <Slides>5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5</vt:i4>
      </vt:variant>
    </vt:vector>
  </HeadingPairs>
  <TitlesOfParts>
    <vt:vector size="11" baseType="lpstr">
      <vt:lpstr>Arial Nova</vt:lpstr>
      <vt:lpstr>Arial</vt:lpstr>
      <vt:lpstr>Calibri</vt:lpstr>
      <vt:lpstr>Segoe UI</vt:lpstr>
      <vt:lpstr>GB - New branding v5 (2)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OLC</dc:creator>
  <cp:keywords/>
  <dc:description/>
  <cp:lastModifiedBy>Jahn, Ulrike</cp:lastModifiedBy>
  <cp:revision>142</cp:revision>
  <dcterms:created xsi:type="dcterms:W3CDTF">2019-06-05T15:43:42Z</dcterms:created>
  <dcterms:modified xsi:type="dcterms:W3CDTF">2026-02-06T17:56:11Z</dcterms:modified>
  <cp:category/>
  <dc:identifier/>
  <cp:contentStatus/>
  <dc:language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9D5CB6F85F73647953D1642A5D820CC</vt:lpwstr>
  </property>
  <property fmtid="{D5CDD505-2E9C-101B-9397-08002B2CF9AE}" pid="3" name="MediaServiceImageTags">
    <vt:lpwstr/>
  </property>
</Properties>
</file>